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1"/>
  </p:notesMasterIdLst>
  <p:sldIdLst>
    <p:sldId id="267" r:id="rId5"/>
    <p:sldId id="268" r:id="rId6"/>
    <p:sldId id="269" r:id="rId7"/>
    <p:sldId id="270" r:id="rId8"/>
    <p:sldId id="274" r:id="rId9"/>
    <p:sldId id="271" r:id="rId10"/>
    <p:sldId id="275" r:id="rId11"/>
    <p:sldId id="272" r:id="rId12"/>
    <p:sldId id="276" r:id="rId13"/>
    <p:sldId id="273" r:id="rId14"/>
    <p:sldId id="277" r:id="rId15"/>
    <p:sldId id="278" r:id="rId16"/>
    <p:sldId id="282" r:id="rId17"/>
    <p:sldId id="283" r:id="rId18"/>
    <p:sldId id="280" r:id="rId19"/>
    <p:sldId id="281" r:id="rId20"/>
  </p:sldIdLst>
  <p:sldSz cx="12192000" cy="6858000"/>
  <p:notesSz cx="7102475" cy="9388475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8B8D0"/>
    <a:srgbClr val="3EC1CC"/>
    <a:srgbClr val="3F3F3F"/>
    <a:srgbClr val="353638"/>
    <a:srgbClr val="0080A2"/>
    <a:srgbClr val="67686B"/>
    <a:srgbClr val="77BC43"/>
    <a:srgbClr val="7ECEDE"/>
    <a:srgbClr val="E00C6A"/>
    <a:srgbClr val="3030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15DD86-F951-41AA-A8AB-47C2C3DB8B94}" v="304" dt="2021-05-03T18:07:53.29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26" autoAdjust="0"/>
    <p:restoredTop sz="94694"/>
  </p:normalViewPr>
  <p:slideViewPr>
    <p:cSldViewPr snapToGrid="0" showGuides="1">
      <p:cViewPr varScale="1">
        <p:scale>
          <a:sx n="62" d="100"/>
          <a:sy n="62" d="100"/>
        </p:scale>
        <p:origin x="93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rge Aronson" userId="15cf36f7eeb55921" providerId="LiveId" clId="{1B15DD86-F951-41AA-A8AB-47C2C3DB8B94}"/>
    <pc:docChg chg="undo redo custSel addSld delSld modSld sldOrd">
      <pc:chgData name="George Aronson" userId="15cf36f7eeb55921" providerId="LiveId" clId="{1B15DD86-F951-41AA-A8AB-47C2C3DB8B94}" dt="2021-05-05T18:14:04.662" v="8922" actId="20577"/>
      <pc:docMkLst>
        <pc:docMk/>
      </pc:docMkLst>
      <pc:sldChg chg="del">
        <pc:chgData name="George Aronson" userId="15cf36f7eeb55921" providerId="LiveId" clId="{1B15DD86-F951-41AA-A8AB-47C2C3DB8B94}" dt="2021-04-29T21:19:33.314" v="3752" actId="47"/>
        <pc:sldMkLst>
          <pc:docMk/>
          <pc:sldMk cId="943975263" sldId="257"/>
        </pc:sldMkLst>
      </pc:sldChg>
      <pc:sldChg chg="del">
        <pc:chgData name="George Aronson" userId="15cf36f7eeb55921" providerId="LiveId" clId="{1B15DD86-F951-41AA-A8AB-47C2C3DB8B94}" dt="2021-04-29T21:19:38.656" v="3753" actId="47"/>
        <pc:sldMkLst>
          <pc:docMk/>
          <pc:sldMk cId="1657611158" sldId="258"/>
        </pc:sldMkLst>
      </pc:sldChg>
      <pc:sldChg chg="del">
        <pc:chgData name="George Aronson" userId="15cf36f7eeb55921" providerId="LiveId" clId="{1B15DD86-F951-41AA-A8AB-47C2C3DB8B94}" dt="2021-04-29T21:19:45.490" v="3755" actId="47"/>
        <pc:sldMkLst>
          <pc:docMk/>
          <pc:sldMk cId="3476327017" sldId="261"/>
        </pc:sldMkLst>
      </pc:sldChg>
      <pc:sldChg chg="del">
        <pc:chgData name="George Aronson" userId="15cf36f7eeb55921" providerId="LiveId" clId="{1B15DD86-F951-41AA-A8AB-47C2C3DB8B94}" dt="2021-04-29T21:19:48.399" v="3756" actId="47"/>
        <pc:sldMkLst>
          <pc:docMk/>
          <pc:sldMk cId="2362778959" sldId="262"/>
        </pc:sldMkLst>
      </pc:sldChg>
      <pc:sldChg chg="del">
        <pc:chgData name="George Aronson" userId="15cf36f7eeb55921" providerId="LiveId" clId="{1B15DD86-F951-41AA-A8AB-47C2C3DB8B94}" dt="2021-04-29T21:19:42.119" v="3754" actId="47"/>
        <pc:sldMkLst>
          <pc:docMk/>
          <pc:sldMk cId="824769539" sldId="263"/>
        </pc:sldMkLst>
      </pc:sldChg>
      <pc:sldChg chg="del">
        <pc:chgData name="George Aronson" userId="15cf36f7eeb55921" providerId="LiveId" clId="{1B15DD86-F951-41AA-A8AB-47C2C3DB8B94}" dt="2021-04-29T17:31:38.818" v="0" actId="47"/>
        <pc:sldMkLst>
          <pc:docMk/>
          <pc:sldMk cId="80815824" sldId="264"/>
        </pc:sldMkLst>
      </pc:sldChg>
      <pc:sldChg chg="addSp delSp modSp del mod">
        <pc:chgData name="George Aronson" userId="15cf36f7eeb55921" providerId="LiveId" clId="{1B15DD86-F951-41AA-A8AB-47C2C3DB8B94}" dt="2021-04-30T13:55:34.392" v="4945" actId="47"/>
        <pc:sldMkLst>
          <pc:docMk/>
          <pc:sldMk cId="4125389798" sldId="265"/>
        </pc:sldMkLst>
        <pc:spChg chg="del">
          <ac:chgData name="George Aronson" userId="15cf36f7eeb55921" providerId="LiveId" clId="{1B15DD86-F951-41AA-A8AB-47C2C3DB8B94}" dt="2021-04-30T13:47:18.199" v="4517" actId="478"/>
          <ac:spMkLst>
            <pc:docMk/>
            <pc:sldMk cId="4125389798" sldId="265"/>
            <ac:spMk id="18" creationId="{E0E622AE-1F3D-4F98-8428-9D736D86ABAD}"/>
          </ac:spMkLst>
        </pc:spChg>
        <pc:picChg chg="add del">
          <ac:chgData name="George Aronson" userId="15cf36f7eeb55921" providerId="LiveId" clId="{1B15DD86-F951-41AA-A8AB-47C2C3DB8B94}" dt="2021-04-30T13:47:26.903" v="4519" actId="478"/>
          <ac:picMkLst>
            <pc:docMk/>
            <pc:sldMk cId="4125389798" sldId="265"/>
            <ac:picMk id="20" creationId="{B91F2035-CACA-4E3F-9195-B25E79B0AA99}"/>
          </ac:picMkLst>
        </pc:picChg>
        <pc:picChg chg="mod">
          <ac:chgData name="George Aronson" userId="15cf36f7eeb55921" providerId="LiveId" clId="{1B15DD86-F951-41AA-A8AB-47C2C3DB8B94}" dt="2021-04-30T13:49:25.933" v="4614" actId="1076"/>
          <ac:picMkLst>
            <pc:docMk/>
            <pc:sldMk cId="4125389798" sldId="265"/>
            <ac:picMk id="36" creationId="{6D2C4EFE-89A4-FD49-86D2-31F57CEDE221}"/>
          </ac:picMkLst>
        </pc:picChg>
      </pc:sldChg>
      <pc:sldChg chg="addSp delSp modSp mod">
        <pc:chgData name="George Aronson" userId="15cf36f7eeb55921" providerId="LiveId" clId="{1B15DD86-F951-41AA-A8AB-47C2C3DB8B94}" dt="2021-05-03T18:04:14.872" v="8476" actId="1076"/>
        <pc:sldMkLst>
          <pc:docMk/>
          <pc:sldMk cId="4286939947" sldId="267"/>
        </pc:sldMkLst>
        <pc:spChg chg="del">
          <ac:chgData name="George Aronson" userId="15cf36f7eeb55921" providerId="LiveId" clId="{1B15DD86-F951-41AA-A8AB-47C2C3DB8B94}" dt="2021-04-29T17:37:08.244" v="153" actId="478"/>
          <ac:spMkLst>
            <pc:docMk/>
            <pc:sldMk cId="4286939947" sldId="267"/>
            <ac:spMk id="2" creationId="{2412FC99-F28C-AC48-95D0-4856329BC035}"/>
          </ac:spMkLst>
        </pc:spChg>
        <pc:spChg chg="del mod">
          <ac:chgData name="George Aronson" userId="15cf36f7eeb55921" providerId="LiveId" clId="{1B15DD86-F951-41AA-A8AB-47C2C3DB8B94}" dt="2021-04-29T17:38:52.364" v="197" actId="478"/>
          <ac:spMkLst>
            <pc:docMk/>
            <pc:sldMk cId="4286939947" sldId="267"/>
            <ac:spMk id="11" creationId="{A39424D4-77E7-EE4E-87F7-A8470D489987}"/>
          </ac:spMkLst>
        </pc:spChg>
        <pc:spChg chg="del mod">
          <ac:chgData name="George Aronson" userId="15cf36f7eeb55921" providerId="LiveId" clId="{1B15DD86-F951-41AA-A8AB-47C2C3DB8B94}" dt="2021-04-29T17:42:23.084" v="305" actId="478"/>
          <ac:spMkLst>
            <pc:docMk/>
            <pc:sldMk cId="4286939947" sldId="267"/>
            <ac:spMk id="14" creationId="{CBE3DFE5-1F7A-B948-AD8D-B5EA65959BC7}"/>
          </ac:spMkLst>
        </pc:spChg>
        <pc:spChg chg="mod ord">
          <ac:chgData name="George Aronson" userId="15cf36f7eeb55921" providerId="LiveId" clId="{1B15DD86-F951-41AA-A8AB-47C2C3DB8B94}" dt="2021-04-29T18:00:50.667" v="468" actId="404"/>
          <ac:spMkLst>
            <pc:docMk/>
            <pc:sldMk cId="4286939947" sldId="267"/>
            <ac:spMk id="30" creationId="{08A85F81-7D4E-45BA-B9AE-1679D3CE587E}"/>
          </ac:spMkLst>
        </pc:spChg>
        <pc:picChg chg="del mod">
          <ac:chgData name="George Aronson" userId="15cf36f7eeb55921" providerId="LiveId" clId="{1B15DD86-F951-41AA-A8AB-47C2C3DB8B94}" dt="2021-04-29T17:34:11.006" v="83" actId="478"/>
          <ac:picMkLst>
            <pc:docMk/>
            <pc:sldMk cId="4286939947" sldId="267"/>
            <ac:picMk id="3" creationId="{3AC2982F-53EE-AE49-9096-5ADFCC40B84A}"/>
          </ac:picMkLst>
        </pc:picChg>
        <pc:picChg chg="add mod">
          <ac:chgData name="George Aronson" userId="15cf36f7eeb55921" providerId="LiveId" clId="{1B15DD86-F951-41AA-A8AB-47C2C3DB8B94}" dt="2021-05-03T18:04:14.872" v="8476" actId="1076"/>
          <ac:picMkLst>
            <pc:docMk/>
            <pc:sldMk cId="4286939947" sldId="267"/>
            <ac:picMk id="5" creationId="{FD436CD3-1B78-47EE-8631-2331152E64C2}"/>
          </ac:picMkLst>
        </pc:picChg>
        <pc:picChg chg="del">
          <ac:chgData name="George Aronson" userId="15cf36f7eeb55921" providerId="LiveId" clId="{1B15DD86-F951-41AA-A8AB-47C2C3DB8B94}" dt="2021-04-29T17:37:02.315" v="152" actId="478"/>
          <ac:picMkLst>
            <pc:docMk/>
            <pc:sldMk cId="4286939947" sldId="267"/>
            <ac:picMk id="8" creationId="{44171BF2-8728-EC47-8E2E-C03885B40E24}"/>
          </ac:picMkLst>
        </pc:picChg>
        <pc:picChg chg="mod">
          <ac:chgData name="George Aronson" userId="15cf36f7eeb55921" providerId="LiveId" clId="{1B15DD86-F951-41AA-A8AB-47C2C3DB8B94}" dt="2021-04-29T17:39:13.499" v="201" actId="1076"/>
          <ac:picMkLst>
            <pc:docMk/>
            <pc:sldMk cId="4286939947" sldId="267"/>
            <ac:picMk id="9" creationId="{254153EF-9761-BC4F-BC33-0B21129C6687}"/>
          </ac:picMkLst>
        </pc:picChg>
        <pc:picChg chg="mod">
          <ac:chgData name="George Aronson" userId="15cf36f7eeb55921" providerId="LiveId" clId="{1B15DD86-F951-41AA-A8AB-47C2C3DB8B94}" dt="2021-04-29T17:41:08.142" v="292"/>
          <ac:picMkLst>
            <pc:docMk/>
            <pc:sldMk cId="4286939947" sldId="267"/>
            <ac:picMk id="13" creationId="{88633CD2-B96C-6745-914C-543792066696}"/>
          </ac:picMkLst>
        </pc:picChg>
        <pc:picChg chg="del">
          <ac:chgData name="George Aronson" userId="15cf36f7eeb55921" providerId="LiveId" clId="{1B15DD86-F951-41AA-A8AB-47C2C3DB8B94}" dt="2021-04-29T17:33:50.185" v="78" actId="478"/>
          <ac:picMkLst>
            <pc:docMk/>
            <pc:sldMk cId="4286939947" sldId="267"/>
            <ac:picMk id="15" creationId="{B419F8C1-9E06-6F47-84A4-B6A352BE87B7}"/>
          </ac:picMkLst>
        </pc:picChg>
        <pc:picChg chg="mod">
          <ac:chgData name="George Aronson" userId="15cf36f7eeb55921" providerId="LiveId" clId="{1B15DD86-F951-41AA-A8AB-47C2C3DB8B94}" dt="2021-04-29T17:40:02.274" v="211" actId="1076"/>
          <ac:picMkLst>
            <pc:docMk/>
            <pc:sldMk cId="4286939947" sldId="267"/>
            <ac:picMk id="16" creationId="{0B3839BF-6014-544A-A25B-E79679D007B8}"/>
          </ac:picMkLst>
        </pc:picChg>
        <pc:picChg chg="add mod">
          <ac:chgData name="George Aronson" userId="15cf36f7eeb55921" providerId="LiveId" clId="{1B15DD86-F951-41AA-A8AB-47C2C3DB8B94}" dt="2021-04-29T17:41:49.497" v="297" actId="1076"/>
          <ac:picMkLst>
            <pc:docMk/>
            <pc:sldMk cId="4286939947" sldId="267"/>
            <ac:picMk id="17" creationId="{DE9CFB79-2687-4697-8451-5D432A76D0A8}"/>
          </ac:picMkLst>
        </pc:picChg>
        <pc:picChg chg="add mod">
          <ac:chgData name="George Aronson" userId="15cf36f7eeb55921" providerId="LiveId" clId="{1B15DD86-F951-41AA-A8AB-47C2C3DB8B94}" dt="2021-04-29T17:41:45.753" v="296" actId="14100"/>
          <ac:picMkLst>
            <pc:docMk/>
            <pc:sldMk cId="4286939947" sldId="267"/>
            <ac:picMk id="18" creationId="{9F8F5A52-2F4B-4EE5-91BC-601BFA233528}"/>
          </ac:picMkLst>
        </pc:picChg>
      </pc:sldChg>
      <pc:sldChg chg="addSp delSp modSp mod ord">
        <pc:chgData name="George Aronson" userId="15cf36f7eeb55921" providerId="LiveId" clId="{1B15DD86-F951-41AA-A8AB-47C2C3DB8B94}" dt="2021-05-03T18:04:57.381" v="8481" actId="6549"/>
        <pc:sldMkLst>
          <pc:docMk/>
          <pc:sldMk cId="499470498" sldId="268"/>
        </pc:sldMkLst>
        <pc:spChg chg="del">
          <ac:chgData name="George Aronson" userId="15cf36f7eeb55921" providerId="LiveId" clId="{1B15DD86-F951-41AA-A8AB-47C2C3DB8B94}" dt="2021-04-29T18:02:00.008" v="499" actId="478"/>
          <ac:spMkLst>
            <pc:docMk/>
            <pc:sldMk cId="499470498" sldId="268"/>
            <ac:spMk id="2" creationId="{885CB676-CB2A-48BA-BB4C-DDBEAF924AF0}"/>
          </ac:spMkLst>
        </pc:spChg>
        <pc:spChg chg="add del mod">
          <ac:chgData name="George Aronson" userId="15cf36f7eeb55921" providerId="LiveId" clId="{1B15DD86-F951-41AA-A8AB-47C2C3DB8B94}" dt="2021-04-29T18:06:46.904" v="865" actId="14100"/>
          <ac:spMkLst>
            <pc:docMk/>
            <pc:sldMk cId="499470498" sldId="268"/>
            <ac:spMk id="4" creationId="{F23FFD18-0055-4EBE-994B-9C8B5BC1C71B}"/>
          </ac:spMkLst>
        </pc:spChg>
        <pc:spChg chg="del">
          <ac:chgData name="George Aronson" userId="15cf36f7eeb55921" providerId="LiveId" clId="{1B15DD86-F951-41AA-A8AB-47C2C3DB8B94}" dt="2021-04-29T18:03:44.252" v="601" actId="478"/>
          <ac:spMkLst>
            <pc:docMk/>
            <pc:sldMk cId="499470498" sldId="268"/>
            <ac:spMk id="18" creationId="{CE35D499-8D7E-4FCB-9558-1D254A8505DA}"/>
          </ac:spMkLst>
        </pc:spChg>
        <pc:spChg chg="mod">
          <ac:chgData name="George Aronson" userId="15cf36f7eeb55921" providerId="LiveId" clId="{1B15DD86-F951-41AA-A8AB-47C2C3DB8B94}" dt="2021-04-29T18:08:08.928" v="887" actId="1076"/>
          <ac:spMkLst>
            <pc:docMk/>
            <pc:sldMk cId="499470498" sldId="268"/>
            <ac:spMk id="25" creationId="{9D34E8B0-2954-4BDA-83A6-3AAA94B05AEA}"/>
          </ac:spMkLst>
        </pc:spChg>
        <pc:spChg chg="add mod">
          <ac:chgData name="George Aronson" userId="15cf36f7eeb55921" providerId="LiveId" clId="{1B15DD86-F951-41AA-A8AB-47C2C3DB8B94}" dt="2021-04-29T18:10:29.220" v="904"/>
          <ac:spMkLst>
            <pc:docMk/>
            <pc:sldMk cId="499470498" sldId="268"/>
            <ac:spMk id="28" creationId="{1DE0860A-9B29-4215-AC42-4D47C9883FF7}"/>
          </ac:spMkLst>
        </pc:spChg>
        <pc:spChg chg="mod">
          <ac:chgData name="George Aronson" userId="15cf36f7eeb55921" providerId="LiveId" clId="{1B15DD86-F951-41AA-A8AB-47C2C3DB8B94}" dt="2021-05-03T18:04:57.381" v="8481" actId="6549"/>
          <ac:spMkLst>
            <pc:docMk/>
            <pc:sldMk cId="499470498" sldId="268"/>
            <ac:spMk id="31" creationId="{CE3B9971-F1D5-4509-B708-3DD4B3C96FC8}"/>
          </ac:spMkLst>
        </pc:spChg>
        <pc:picChg chg="mod">
          <ac:chgData name="George Aronson" userId="15cf36f7eeb55921" providerId="LiveId" clId="{1B15DD86-F951-41AA-A8AB-47C2C3DB8B94}" dt="2021-04-30T13:56:58.107" v="4951" actId="1076"/>
          <ac:picMkLst>
            <pc:docMk/>
            <pc:sldMk cId="499470498" sldId="268"/>
            <ac:picMk id="24" creationId="{07167B6D-9A8A-4F65-B516-ADF62F75DE82}"/>
          </ac:picMkLst>
        </pc:picChg>
        <pc:picChg chg="add mod">
          <ac:chgData name="George Aronson" userId="15cf36f7eeb55921" providerId="LiveId" clId="{1B15DD86-F951-41AA-A8AB-47C2C3DB8B94}" dt="2021-04-29T20:21:31.522" v="1472" actId="14100"/>
          <ac:picMkLst>
            <pc:docMk/>
            <pc:sldMk cId="499470498" sldId="268"/>
            <ac:picMk id="26" creationId="{ADDA3284-FBFE-4823-93E0-9F2D4F3D70FD}"/>
          </ac:picMkLst>
        </pc:picChg>
        <pc:picChg chg="add mod">
          <ac:chgData name="George Aronson" userId="15cf36f7eeb55921" providerId="LiveId" clId="{1B15DD86-F951-41AA-A8AB-47C2C3DB8B94}" dt="2021-04-29T20:21:37.334" v="1473" actId="14100"/>
          <ac:picMkLst>
            <pc:docMk/>
            <pc:sldMk cId="499470498" sldId="268"/>
            <ac:picMk id="27" creationId="{66631EA6-CBD9-4D77-9B67-27943E0032C5}"/>
          </ac:picMkLst>
        </pc:picChg>
        <pc:picChg chg="del">
          <ac:chgData name="George Aronson" userId="15cf36f7eeb55921" providerId="LiveId" clId="{1B15DD86-F951-41AA-A8AB-47C2C3DB8B94}" dt="2021-04-29T18:03:46.469" v="602" actId="478"/>
          <ac:picMkLst>
            <pc:docMk/>
            <pc:sldMk cId="499470498" sldId="268"/>
            <ac:picMk id="49" creationId="{7B547F95-7208-9B43-B404-3772419ABE0C}"/>
          </ac:picMkLst>
        </pc:picChg>
        <pc:picChg chg="del">
          <ac:chgData name="George Aronson" userId="15cf36f7eeb55921" providerId="LiveId" clId="{1B15DD86-F951-41AA-A8AB-47C2C3DB8B94}" dt="2021-04-29T18:03:47.130" v="603" actId="478"/>
          <ac:picMkLst>
            <pc:docMk/>
            <pc:sldMk cId="499470498" sldId="268"/>
            <ac:picMk id="50" creationId="{9B8A5694-80B1-1544-8C65-1F3E92531A8B}"/>
          </ac:picMkLst>
        </pc:picChg>
        <pc:picChg chg="del mod">
          <ac:chgData name="George Aronson" userId="15cf36f7eeb55921" providerId="LiveId" clId="{1B15DD86-F951-41AA-A8AB-47C2C3DB8B94}" dt="2021-04-29T18:03:48.226" v="605" actId="478"/>
          <ac:picMkLst>
            <pc:docMk/>
            <pc:sldMk cId="499470498" sldId="268"/>
            <ac:picMk id="51" creationId="{51A52001-8F05-9E40-B72E-B8101D621A0E}"/>
          </ac:picMkLst>
        </pc:picChg>
      </pc:sldChg>
      <pc:sldChg chg="addSp delSp modSp add mod">
        <pc:chgData name="George Aronson" userId="15cf36f7eeb55921" providerId="LiveId" clId="{1B15DD86-F951-41AA-A8AB-47C2C3DB8B94}" dt="2021-04-30T21:04:30.561" v="5102" actId="1076"/>
        <pc:sldMkLst>
          <pc:docMk/>
          <pc:sldMk cId="3687814806" sldId="269"/>
        </pc:sldMkLst>
        <pc:spChg chg="add mod">
          <ac:chgData name="George Aronson" userId="15cf36f7eeb55921" providerId="LiveId" clId="{1B15DD86-F951-41AA-A8AB-47C2C3DB8B94}" dt="2021-04-29T18:10:20.043" v="903" actId="1076"/>
          <ac:spMkLst>
            <pc:docMk/>
            <pc:sldMk cId="3687814806" sldId="269"/>
            <ac:spMk id="18" creationId="{877B78F5-1624-4BB6-9302-87BDD9AAB321}"/>
          </ac:spMkLst>
        </pc:spChg>
        <pc:spChg chg="mod">
          <ac:chgData name="George Aronson" userId="15cf36f7eeb55921" providerId="LiveId" clId="{1B15DD86-F951-41AA-A8AB-47C2C3DB8B94}" dt="2021-04-29T18:11:58.314" v="965" actId="20577"/>
          <ac:spMkLst>
            <pc:docMk/>
            <pc:sldMk cId="3687814806" sldId="269"/>
            <ac:spMk id="25" creationId="{9D34E8B0-2954-4BDA-83A6-3AAA94B05AEA}"/>
          </ac:spMkLst>
        </pc:spChg>
        <pc:spChg chg="add mod">
          <ac:chgData name="George Aronson" userId="15cf36f7eeb55921" providerId="LiveId" clId="{1B15DD86-F951-41AA-A8AB-47C2C3DB8B94}" dt="2021-04-30T21:03:45.850" v="5063" actId="1076"/>
          <ac:spMkLst>
            <pc:docMk/>
            <pc:sldMk cId="3687814806" sldId="269"/>
            <ac:spMk id="29" creationId="{FE2F8A0B-C7F3-4E9D-A3E4-BA85340D8914}"/>
          </ac:spMkLst>
        </pc:spChg>
        <pc:spChg chg="add mod">
          <ac:chgData name="George Aronson" userId="15cf36f7eeb55921" providerId="LiveId" clId="{1B15DD86-F951-41AA-A8AB-47C2C3DB8B94}" dt="2021-04-30T21:04:30.561" v="5102" actId="1076"/>
          <ac:spMkLst>
            <pc:docMk/>
            <pc:sldMk cId="3687814806" sldId="269"/>
            <ac:spMk id="30" creationId="{21C4D578-57F6-4D2D-922A-C3D2C28908CE}"/>
          </ac:spMkLst>
        </pc:spChg>
        <pc:spChg chg="mod">
          <ac:chgData name="George Aronson" userId="15cf36f7eeb55921" providerId="LiveId" clId="{1B15DD86-F951-41AA-A8AB-47C2C3DB8B94}" dt="2021-04-30T13:58:08.038" v="4961" actId="14100"/>
          <ac:spMkLst>
            <pc:docMk/>
            <pc:sldMk cId="3687814806" sldId="269"/>
            <ac:spMk id="31" creationId="{CE3B9971-F1D5-4509-B708-3DD4B3C96FC8}"/>
          </ac:spMkLst>
        </pc:spChg>
        <pc:graphicFrameChg chg="add del mod">
          <ac:chgData name="George Aronson" userId="15cf36f7eeb55921" providerId="LiveId" clId="{1B15DD86-F951-41AA-A8AB-47C2C3DB8B94}" dt="2021-04-30T20:50:04.554" v="4964" actId="478"/>
          <ac:graphicFrameMkLst>
            <pc:docMk/>
            <pc:sldMk cId="3687814806" sldId="269"/>
            <ac:graphicFrameMk id="19" creationId="{79D3054C-E9C1-4A38-8CB5-C95E7FD402A7}"/>
          </ac:graphicFrameMkLst>
        </pc:graphicFrameChg>
        <pc:graphicFrameChg chg="add del mod">
          <ac:chgData name="George Aronson" userId="15cf36f7eeb55921" providerId="LiveId" clId="{1B15DD86-F951-41AA-A8AB-47C2C3DB8B94}" dt="2021-04-30T20:50:42.185" v="4970" actId="478"/>
          <ac:graphicFrameMkLst>
            <pc:docMk/>
            <pc:sldMk cId="3687814806" sldId="269"/>
            <ac:graphicFrameMk id="20" creationId="{00000000-0008-0000-0100-000002000000}"/>
          </ac:graphicFrameMkLst>
        </pc:graphicFrameChg>
        <pc:graphicFrameChg chg="add mod">
          <ac:chgData name="George Aronson" userId="15cf36f7eeb55921" providerId="LiveId" clId="{1B15DD86-F951-41AA-A8AB-47C2C3DB8B94}" dt="2021-04-30T21:03:23.138" v="5062"/>
          <ac:graphicFrameMkLst>
            <pc:docMk/>
            <pc:sldMk cId="3687814806" sldId="269"/>
            <ac:graphicFrameMk id="28" creationId="{00000000-0008-0000-0100-000002000000}"/>
          </ac:graphicFrameMkLst>
        </pc:graphicFrameChg>
        <pc:picChg chg="del">
          <ac:chgData name="George Aronson" userId="15cf36f7eeb55921" providerId="LiveId" clId="{1B15DD86-F951-41AA-A8AB-47C2C3DB8B94}" dt="2021-04-29T18:16:57.628" v="1471" actId="478"/>
          <ac:picMkLst>
            <pc:docMk/>
            <pc:sldMk cId="3687814806" sldId="269"/>
            <ac:picMk id="24" creationId="{07167B6D-9A8A-4F65-B516-ADF62F75DE82}"/>
          </ac:picMkLst>
        </pc:picChg>
      </pc:sldChg>
      <pc:sldChg chg="addSp delSp modSp add mod">
        <pc:chgData name="George Aronson" userId="15cf36f7eeb55921" providerId="LiveId" clId="{1B15DD86-F951-41AA-A8AB-47C2C3DB8B94}" dt="2021-04-30T22:20:44.232" v="8220" actId="1076"/>
        <pc:sldMkLst>
          <pc:docMk/>
          <pc:sldMk cId="3485564895" sldId="270"/>
        </pc:sldMkLst>
        <pc:spChg chg="mod">
          <ac:chgData name="George Aronson" userId="15cf36f7eeb55921" providerId="LiveId" clId="{1B15DD86-F951-41AA-A8AB-47C2C3DB8B94}" dt="2021-04-29T20:37:41.686" v="2415" actId="14100"/>
          <ac:spMkLst>
            <pc:docMk/>
            <pc:sldMk cId="3485564895" sldId="270"/>
            <ac:spMk id="25" creationId="{9D34E8B0-2954-4BDA-83A6-3AAA94B05AEA}"/>
          </ac:spMkLst>
        </pc:spChg>
        <pc:spChg chg="mod">
          <ac:chgData name="George Aronson" userId="15cf36f7eeb55921" providerId="LiveId" clId="{1B15DD86-F951-41AA-A8AB-47C2C3DB8B94}" dt="2021-04-30T22:20:36.187" v="8219" actId="6549"/>
          <ac:spMkLst>
            <pc:docMk/>
            <pc:sldMk cId="3485564895" sldId="270"/>
            <ac:spMk id="31" creationId="{CE3B9971-F1D5-4509-B708-3DD4B3C96FC8}"/>
          </ac:spMkLst>
        </pc:spChg>
        <pc:picChg chg="add del mod">
          <ac:chgData name="George Aronson" userId="15cf36f7eeb55921" providerId="LiveId" clId="{1B15DD86-F951-41AA-A8AB-47C2C3DB8B94}" dt="2021-04-29T21:30:26.149" v="3843" actId="478"/>
          <ac:picMkLst>
            <pc:docMk/>
            <pc:sldMk cId="3485564895" sldId="270"/>
            <ac:picMk id="19" creationId="{8AFBFC19-7A22-49FE-B399-BA7410FEFA25}"/>
          </ac:picMkLst>
        </pc:picChg>
        <pc:picChg chg="add del mod">
          <ac:chgData name="George Aronson" userId="15cf36f7eeb55921" providerId="LiveId" clId="{1B15DD86-F951-41AA-A8AB-47C2C3DB8B94}" dt="2021-04-30T21:09:52.233" v="5104" actId="478"/>
          <ac:picMkLst>
            <pc:docMk/>
            <pc:sldMk cId="3485564895" sldId="270"/>
            <ac:picMk id="20" creationId="{A2C64E00-3A47-4E9C-950D-3FBCFA018DFE}"/>
          </ac:picMkLst>
        </pc:picChg>
        <pc:picChg chg="add mod">
          <ac:chgData name="George Aronson" userId="15cf36f7eeb55921" providerId="LiveId" clId="{1B15DD86-F951-41AA-A8AB-47C2C3DB8B94}" dt="2021-04-30T22:20:44.232" v="8220" actId="1076"/>
          <ac:picMkLst>
            <pc:docMk/>
            <pc:sldMk cId="3485564895" sldId="270"/>
            <ac:picMk id="24" creationId="{127709BF-69B5-47C3-BA1F-F1F74B67DB5A}"/>
          </ac:picMkLst>
        </pc:picChg>
      </pc:sldChg>
      <pc:sldChg chg="addSp delSp modSp add mod">
        <pc:chgData name="George Aronson" userId="15cf36f7eeb55921" providerId="LiveId" clId="{1B15DD86-F951-41AA-A8AB-47C2C3DB8B94}" dt="2021-04-30T22:21:58.289" v="8271" actId="6549"/>
        <pc:sldMkLst>
          <pc:docMk/>
          <pc:sldMk cId="890846513" sldId="271"/>
        </pc:sldMkLst>
        <pc:spChg chg="mod">
          <ac:chgData name="George Aronson" userId="15cf36f7eeb55921" providerId="LiveId" clId="{1B15DD86-F951-41AA-A8AB-47C2C3DB8B94}" dt="2021-04-29T20:37:54.839" v="2430" actId="14100"/>
          <ac:spMkLst>
            <pc:docMk/>
            <pc:sldMk cId="890846513" sldId="271"/>
            <ac:spMk id="25" creationId="{9D34E8B0-2954-4BDA-83A6-3AAA94B05AEA}"/>
          </ac:spMkLst>
        </pc:spChg>
        <pc:spChg chg="mod">
          <ac:chgData name="George Aronson" userId="15cf36f7eeb55921" providerId="LiveId" clId="{1B15DD86-F951-41AA-A8AB-47C2C3DB8B94}" dt="2021-04-30T22:21:58.289" v="8271" actId="6549"/>
          <ac:spMkLst>
            <pc:docMk/>
            <pc:sldMk cId="890846513" sldId="271"/>
            <ac:spMk id="31" creationId="{CE3B9971-F1D5-4509-B708-3DD4B3C96FC8}"/>
          </ac:spMkLst>
        </pc:spChg>
        <pc:picChg chg="add del mod">
          <ac:chgData name="George Aronson" userId="15cf36f7eeb55921" providerId="LiveId" clId="{1B15DD86-F951-41AA-A8AB-47C2C3DB8B94}" dt="2021-04-29T21:11:16.912" v="3520" actId="478"/>
          <ac:picMkLst>
            <pc:docMk/>
            <pc:sldMk cId="890846513" sldId="271"/>
            <ac:picMk id="19" creationId="{CE45A3C9-1247-4BED-89E2-50C4D0913F1F}"/>
          </ac:picMkLst>
        </pc:picChg>
        <pc:picChg chg="add mod">
          <ac:chgData name="George Aronson" userId="15cf36f7eeb55921" providerId="LiveId" clId="{1B15DD86-F951-41AA-A8AB-47C2C3DB8B94}" dt="2021-04-29T21:14:20.061" v="3594" actId="14100"/>
          <ac:picMkLst>
            <pc:docMk/>
            <pc:sldMk cId="890846513" sldId="271"/>
            <ac:picMk id="20" creationId="{D069E6EC-BE79-4261-8D10-6D04167B8D2A}"/>
          </ac:picMkLst>
        </pc:picChg>
        <pc:picChg chg="add mod">
          <ac:chgData name="George Aronson" userId="15cf36f7eeb55921" providerId="LiveId" clId="{1B15DD86-F951-41AA-A8AB-47C2C3DB8B94}" dt="2021-04-29T21:14:12.140" v="3592" actId="1076"/>
          <ac:picMkLst>
            <pc:docMk/>
            <pc:sldMk cId="890846513" sldId="271"/>
            <ac:picMk id="24" creationId="{3C0B380E-4559-454C-8D52-0267E2FDF897}"/>
          </ac:picMkLst>
        </pc:picChg>
      </pc:sldChg>
      <pc:sldChg chg="addSp delSp modSp add mod">
        <pc:chgData name="George Aronson" userId="15cf36f7eeb55921" providerId="LiveId" clId="{1B15DD86-F951-41AA-A8AB-47C2C3DB8B94}" dt="2021-05-03T18:08:10.968" v="8490" actId="1076"/>
        <pc:sldMkLst>
          <pc:docMk/>
          <pc:sldMk cId="689444379" sldId="272"/>
        </pc:sldMkLst>
        <pc:spChg chg="add mod">
          <ac:chgData name="George Aronson" userId="15cf36f7eeb55921" providerId="LiveId" clId="{1B15DD86-F951-41AA-A8AB-47C2C3DB8B94}" dt="2021-04-29T21:19:04.016" v="3751" actId="692"/>
          <ac:spMkLst>
            <pc:docMk/>
            <pc:sldMk cId="689444379" sldId="272"/>
            <ac:spMk id="20" creationId="{8FA0299F-B0BE-4B74-A29F-996AFCB8FB50}"/>
          </ac:spMkLst>
        </pc:spChg>
        <pc:spChg chg="mod">
          <ac:chgData name="George Aronson" userId="15cf36f7eeb55921" providerId="LiveId" clId="{1B15DD86-F951-41AA-A8AB-47C2C3DB8B94}" dt="2021-04-29T21:16:07.244" v="3690" actId="6549"/>
          <ac:spMkLst>
            <pc:docMk/>
            <pc:sldMk cId="689444379" sldId="272"/>
            <ac:spMk id="25" creationId="{9D34E8B0-2954-4BDA-83A6-3AAA94B05AEA}"/>
          </ac:spMkLst>
        </pc:spChg>
        <pc:spChg chg="mod">
          <ac:chgData name="George Aronson" userId="15cf36f7eeb55921" providerId="LiveId" clId="{1B15DD86-F951-41AA-A8AB-47C2C3DB8B94}" dt="2021-04-29T21:17:16.150" v="3728" actId="1076"/>
          <ac:spMkLst>
            <pc:docMk/>
            <pc:sldMk cId="689444379" sldId="272"/>
            <ac:spMk id="31" creationId="{CE3B9971-F1D5-4509-B708-3DD4B3C96FC8}"/>
          </ac:spMkLst>
        </pc:spChg>
        <pc:graphicFrameChg chg="add mod modGraphic">
          <ac:chgData name="George Aronson" userId="15cf36f7eeb55921" providerId="LiveId" clId="{1B15DD86-F951-41AA-A8AB-47C2C3DB8B94}" dt="2021-04-29T21:17:58.957" v="3738" actId="1076"/>
          <ac:graphicFrameMkLst>
            <pc:docMk/>
            <pc:sldMk cId="689444379" sldId="272"/>
            <ac:graphicFrameMk id="19" creationId="{81E11287-B425-4510-BA36-E344347A793F}"/>
          </ac:graphicFrameMkLst>
        </pc:graphicFrameChg>
        <pc:picChg chg="add mod">
          <ac:chgData name="George Aronson" userId="15cf36f7eeb55921" providerId="LiveId" clId="{1B15DD86-F951-41AA-A8AB-47C2C3DB8B94}" dt="2021-05-03T18:08:10.968" v="8490" actId="1076"/>
          <ac:picMkLst>
            <pc:docMk/>
            <pc:sldMk cId="689444379" sldId="272"/>
            <ac:picMk id="3" creationId="{C856CFA7-AA88-4875-B8F7-AA6CA3337F17}"/>
          </ac:picMkLst>
        </pc:picChg>
        <pc:picChg chg="add del mod">
          <ac:chgData name="George Aronson" userId="15cf36f7eeb55921" providerId="LiveId" clId="{1B15DD86-F951-41AA-A8AB-47C2C3DB8B94}" dt="2021-05-03T18:07:05.967" v="8482" actId="478"/>
          <ac:picMkLst>
            <pc:docMk/>
            <pc:sldMk cId="689444379" sldId="272"/>
            <ac:picMk id="24" creationId="{80E17AA7-1483-4984-9BDF-612803D073CE}"/>
          </ac:picMkLst>
        </pc:picChg>
      </pc:sldChg>
      <pc:sldChg chg="addSp modSp add mod">
        <pc:chgData name="George Aronson" userId="15cf36f7eeb55921" providerId="LiveId" clId="{1B15DD86-F951-41AA-A8AB-47C2C3DB8B94}" dt="2021-04-30T22:12:00.569" v="7990" actId="14100"/>
        <pc:sldMkLst>
          <pc:docMk/>
          <pc:sldMk cId="3088997478" sldId="273"/>
        </pc:sldMkLst>
        <pc:spChg chg="mod">
          <ac:chgData name="George Aronson" userId="15cf36f7eeb55921" providerId="LiveId" clId="{1B15DD86-F951-41AA-A8AB-47C2C3DB8B94}" dt="2021-04-29T21:34:15.494" v="3867" actId="20577"/>
          <ac:spMkLst>
            <pc:docMk/>
            <pc:sldMk cId="3088997478" sldId="273"/>
            <ac:spMk id="25" creationId="{9D34E8B0-2954-4BDA-83A6-3AAA94B05AEA}"/>
          </ac:spMkLst>
        </pc:spChg>
        <pc:spChg chg="mod">
          <ac:chgData name="George Aronson" userId="15cf36f7eeb55921" providerId="LiveId" clId="{1B15DD86-F951-41AA-A8AB-47C2C3DB8B94}" dt="2021-04-30T22:11:53.609" v="7988" actId="1076"/>
          <ac:spMkLst>
            <pc:docMk/>
            <pc:sldMk cId="3088997478" sldId="273"/>
            <ac:spMk id="31" creationId="{CE3B9971-F1D5-4509-B708-3DD4B3C96FC8}"/>
          </ac:spMkLst>
        </pc:spChg>
        <pc:picChg chg="add mod modCrop">
          <ac:chgData name="George Aronson" userId="15cf36f7eeb55921" providerId="LiveId" clId="{1B15DD86-F951-41AA-A8AB-47C2C3DB8B94}" dt="2021-04-30T22:12:00.569" v="7990" actId="14100"/>
          <ac:picMkLst>
            <pc:docMk/>
            <pc:sldMk cId="3088997478" sldId="273"/>
            <ac:picMk id="19" creationId="{C3A6687C-E795-4CB1-BD06-88A2637C0D69}"/>
          </ac:picMkLst>
        </pc:picChg>
        <pc:picChg chg="add mod">
          <ac:chgData name="George Aronson" userId="15cf36f7eeb55921" providerId="LiveId" clId="{1B15DD86-F951-41AA-A8AB-47C2C3DB8B94}" dt="2021-04-29T21:49:46.916" v="4506" actId="1076"/>
          <ac:picMkLst>
            <pc:docMk/>
            <pc:sldMk cId="3088997478" sldId="273"/>
            <ac:picMk id="20" creationId="{9F120AC4-B36C-4851-850C-EF49D77CEA2B}"/>
          </ac:picMkLst>
        </pc:picChg>
      </pc:sldChg>
      <pc:sldChg chg="addSp delSp modSp add mod">
        <pc:chgData name="George Aronson" userId="15cf36f7eeb55921" providerId="LiveId" clId="{1B15DD86-F951-41AA-A8AB-47C2C3DB8B94}" dt="2021-04-29T20:57:59.635" v="3254" actId="14100"/>
        <pc:sldMkLst>
          <pc:docMk/>
          <pc:sldMk cId="3744059833" sldId="274"/>
        </pc:sldMkLst>
        <pc:spChg chg="mod">
          <ac:chgData name="George Aronson" userId="15cf36f7eeb55921" providerId="LiveId" clId="{1B15DD86-F951-41AA-A8AB-47C2C3DB8B94}" dt="2021-04-29T20:57:39.550" v="3248" actId="1076"/>
          <ac:spMkLst>
            <pc:docMk/>
            <pc:sldMk cId="3744059833" sldId="274"/>
            <ac:spMk id="25" creationId="{9D34E8B0-2954-4BDA-83A6-3AAA94B05AEA}"/>
          </ac:spMkLst>
        </pc:spChg>
        <pc:spChg chg="del mod">
          <ac:chgData name="George Aronson" userId="15cf36f7eeb55921" providerId="LiveId" clId="{1B15DD86-F951-41AA-A8AB-47C2C3DB8B94}" dt="2021-04-29T20:57:08.522" v="3242"/>
          <ac:spMkLst>
            <pc:docMk/>
            <pc:sldMk cId="3744059833" sldId="274"/>
            <ac:spMk id="31" creationId="{CE3B9971-F1D5-4509-B708-3DD4B3C96FC8}"/>
          </ac:spMkLst>
        </pc:spChg>
        <pc:picChg chg="add mod">
          <ac:chgData name="George Aronson" userId="15cf36f7eeb55921" providerId="LiveId" clId="{1B15DD86-F951-41AA-A8AB-47C2C3DB8B94}" dt="2021-04-29T20:57:59.635" v="3254" actId="14100"/>
          <ac:picMkLst>
            <pc:docMk/>
            <pc:sldMk cId="3744059833" sldId="274"/>
            <ac:picMk id="19" creationId="{DC2CE19E-0F2F-40A3-900A-A2AE89124963}"/>
          </ac:picMkLst>
        </pc:picChg>
      </pc:sldChg>
      <pc:sldChg chg="modSp add mod">
        <pc:chgData name="George Aronson" userId="15cf36f7eeb55921" providerId="LiveId" clId="{1B15DD86-F951-41AA-A8AB-47C2C3DB8B94}" dt="2021-04-30T22:22:14.115" v="8274" actId="1076"/>
        <pc:sldMkLst>
          <pc:docMk/>
          <pc:sldMk cId="142810" sldId="275"/>
        </pc:sldMkLst>
        <pc:spChg chg="mod">
          <ac:chgData name="George Aronson" userId="15cf36f7eeb55921" providerId="LiveId" clId="{1B15DD86-F951-41AA-A8AB-47C2C3DB8B94}" dt="2021-04-30T22:22:09.330" v="8272" actId="1076"/>
          <ac:spMkLst>
            <pc:docMk/>
            <pc:sldMk cId="142810" sldId="275"/>
            <ac:spMk id="31" creationId="{CE3B9971-F1D5-4509-B708-3DD4B3C96FC8}"/>
          </ac:spMkLst>
        </pc:spChg>
        <pc:picChg chg="mod">
          <ac:chgData name="George Aronson" userId="15cf36f7eeb55921" providerId="LiveId" clId="{1B15DD86-F951-41AA-A8AB-47C2C3DB8B94}" dt="2021-04-30T22:22:14.115" v="8274" actId="1076"/>
          <ac:picMkLst>
            <pc:docMk/>
            <pc:sldMk cId="142810" sldId="275"/>
            <ac:picMk id="19" creationId="{CE45A3C9-1247-4BED-89E2-50C4D0913F1F}"/>
          </ac:picMkLst>
        </pc:picChg>
      </pc:sldChg>
      <pc:sldChg chg="addSp delSp modSp add mod">
        <pc:chgData name="George Aronson" userId="15cf36f7eeb55921" providerId="LiveId" clId="{1B15DD86-F951-41AA-A8AB-47C2C3DB8B94}" dt="2021-04-29T21:41:04.479" v="3943" actId="14100"/>
        <pc:sldMkLst>
          <pc:docMk/>
          <pc:sldMk cId="4098875535" sldId="276"/>
        </pc:sldMkLst>
        <pc:spChg chg="del">
          <ac:chgData name="George Aronson" userId="15cf36f7eeb55921" providerId="LiveId" clId="{1B15DD86-F951-41AA-A8AB-47C2C3DB8B94}" dt="2021-04-29T21:35:54.283" v="3886" actId="478"/>
          <ac:spMkLst>
            <pc:docMk/>
            <pc:sldMk cId="4098875535" sldId="276"/>
            <ac:spMk id="20" creationId="{8FA0299F-B0BE-4B74-A29F-996AFCB8FB50}"/>
          </ac:spMkLst>
        </pc:spChg>
        <pc:spChg chg="del mod">
          <ac:chgData name="George Aronson" userId="15cf36f7eeb55921" providerId="LiveId" clId="{1B15DD86-F951-41AA-A8AB-47C2C3DB8B94}" dt="2021-04-29T21:36:27.981" v="3893" actId="478"/>
          <ac:spMkLst>
            <pc:docMk/>
            <pc:sldMk cId="4098875535" sldId="276"/>
            <ac:spMk id="25" creationId="{9D34E8B0-2954-4BDA-83A6-3AAA94B05AEA}"/>
          </ac:spMkLst>
        </pc:spChg>
        <pc:spChg chg="add mod">
          <ac:chgData name="George Aronson" userId="15cf36f7eeb55921" providerId="LiveId" clId="{1B15DD86-F951-41AA-A8AB-47C2C3DB8B94}" dt="2021-04-29T21:36:39.004" v="3895" actId="14100"/>
          <ac:spMkLst>
            <pc:docMk/>
            <pc:sldMk cId="4098875535" sldId="276"/>
            <ac:spMk id="28" creationId="{80682D1D-BDBA-4DF5-A781-FD4B883B3258}"/>
          </ac:spMkLst>
        </pc:spChg>
        <pc:spChg chg="del mod">
          <ac:chgData name="George Aronson" userId="15cf36f7eeb55921" providerId="LiveId" clId="{1B15DD86-F951-41AA-A8AB-47C2C3DB8B94}" dt="2021-04-29T21:36:01.281" v="3890" actId="478"/>
          <ac:spMkLst>
            <pc:docMk/>
            <pc:sldMk cId="4098875535" sldId="276"/>
            <ac:spMk id="31" creationId="{CE3B9971-F1D5-4509-B708-3DD4B3C96FC8}"/>
          </ac:spMkLst>
        </pc:spChg>
        <pc:graphicFrameChg chg="del modGraphic">
          <ac:chgData name="George Aronson" userId="15cf36f7eeb55921" providerId="LiveId" clId="{1B15DD86-F951-41AA-A8AB-47C2C3DB8B94}" dt="2021-04-29T21:35:58.005" v="3888" actId="478"/>
          <ac:graphicFrameMkLst>
            <pc:docMk/>
            <pc:sldMk cId="4098875535" sldId="276"/>
            <ac:graphicFrameMk id="19" creationId="{81E11287-B425-4510-BA36-E344347A793F}"/>
          </ac:graphicFrameMkLst>
        </pc:graphicFrameChg>
        <pc:picChg chg="del">
          <ac:chgData name="George Aronson" userId="15cf36f7eeb55921" providerId="LiveId" clId="{1B15DD86-F951-41AA-A8AB-47C2C3DB8B94}" dt="2021-04-29T21:35:52.221" v="3885" actId="478"/>
          <ac:picMkLst>
            <pc:docMk/>
            <pc:sldMk cId="4098875535" sldId="276"/>
            <ac:picMk id="24" creationId="{80E17AA7-1483-4984-9BDF-612803D073CE}"/>
          </ac:picMkLst>
        </pc:picChg>
        <pc:picChg chg="add mod">
          <ac:chgData name="George Aronson" userId="15cf36f7eeb55921" providerId="LiveId" clId="{1B15DD86-F951-41AA-A8AB-47C2C3DB8B94}" dt="2021-04-29T21:40:36.974" v="3933" actId="14100"/>
          <ac:picMkLst>
            <pc:docMk/>
            <pc:sldMk cId="4098875535" sldId="276"/>
            <ac:picMk id="29" creationId="{7C505239-5C24-4764-B396-C87EA2FE9FA8}"/>
          </ac:picMkLst>
        </pc:picChg>
        <pc:picChg chg="add mod">
          <ac:chgData name="George Aronson" userId="15cf36f7eeb55921" providerId="LiveId" clId="{1B15DD86-F951-41AA-A8AB-47C2C3DB8B94}" dt="2021-04-29T21:40:33.288" v="3931" actId="1076"/>
          <ac:picMkLst>
            <pc:docMk/>
            <pc:sldMk cId="4098875535" sldId="276"/>
            <ac:picMk id="30" creationId="{5E70CC50-F8A6-41B8-BAD6-E8EA052EC8AB}"/>
          </ac:picMkLst>
        </pc:picChg>
        <pc:picChg chg="add del mod">
          <ac:chgData name="George Aronson" userId="15cf36f7eeb55921" providerId="LiveId" clId="{1B15DD86-F951-41AA-A8AB-47C2C3DB8B94}" dt="2021-04-29T21:40:12.671" v="3921" actId="478"/>
          <ac:picMkLst>
            <pc:docMk/>
            <pc:sldMk cId="4098875535" sldId="276"/>
            <ac:picMk id="32" creationId="{3439ACF6-1021-4882-A22E-60B1F4A50D06}"/>
          </ac:picMkLst>
        </pc:picChg>
        <pc:picChg chg="add mod">
          <ac:chgData name="George Aronson" userId="15cf36f7eeb55921" providerId="LiveId" clId="{1B15DD86-F951-41AA-A8AB-47C2C3DB8B94}" dt="2021-04-29T21:41:04.479" v="3943" actId="14100"/>
          <ac:picMkLst>
            <pc:docMk/>
            <pc:sldMk cId="4098875535" sldId="276"/>
            <ac:picMk id="33" creationId="{CEDEB6B9-3603-44C1-B643-AB44CD5A067B}"/>
          </ac:picMkLst>
        </pc:picChg>
        <pc:picChg chg="add mod">
          <ac:chgData name="George Aronson" userId="15cf36f7eeb55921" providerId="LiveId" clId="{1B15DD86-F951-41AA-A8AB-47C2C3DB8B94}" dt="2021-04-29T21:40:52.037" v="3940" actId="14100"/>
          <ac:picMkLst>
            <pc:docMk/>
            <pc:sldMk cId="4098875535" sldId="276"/>
            <ac:picMk id="34" creationId="{D5FF9B82-82FD-49B2-B7E5-119968662B20}"/>
          </ac:picMkLst>
        </pc:picChg>
        <pc:picChg chg="add mod">
          <ac:chgData name="George Aronson" userId="15cf36f7eeb55921" providerId="LiveId" clId="{1B15DD86-F951-41AA-A8AB-47C2C3DB8B94}" dt="2021-04-29T21:40:53.829" v="3941" actId="1076"/>
          <ac:picMkLst>
            <pc:docMk/>
            <pc:sldMk cId="4098875535" sldId="276"/>
            <ac:picMk id="35" creationId="{2CDDFAB6-DB11-4C8C-9007-69820DEAB5EE}"/>
          </ac:picMkLst>
        </pc:picChg>
        <pc:picChg chg="add del mod">
          <ac:chgData name="George Aronson" userId="15cf36f7eeb55921" providerId="LiveId" clId="{1B15DD86-F951-41AA-A8AB-47C2C3DB8B94}" dt="2021-04-29T21:40:01.303" v="3918" actId="478"/>
          <ac:picMkLst>
            <pc:docMk/>
            <pc:sldMk cId="4098875535" sldId="276"/>
            <ac:picMk id="36" creationId="{23182C34-F5DA-42D0-83A2-56DDCAD8F239}"/>
          </ac:picMkLst>
        </pc:picChg>
        <pc:picChg chg="add mod">
          <ac:chgData name="George Aronson" userId="15cf36f7eeb55921" providerId="LiveId" clId="{1B15DD86-F951-41AA-A8AB-47C2C3DB8B94}" dt="2021-04-29T21:40:45.133" v="3937" actId="14100"/>
          <ac:picMkLst>
            <pc:docMk/>
            <pc:sldMk cId="4098875535" sldId="276"/>
            <ac:picMk id="37" creationId="{56D2B2B4-B70B-49A5-AAC0-F4AD316DB7E2}"/>
          </ac:picMkLst>
        </pc:picChg>
      </pc:sldChg>
      <pc:sldChg chg="addSp delSp modSp add mod">
        <pc:chgData name="George Aronson" userId="15cf36f7eeb55921" providerId="LiveId" clId="{1B15DD86-F951-41AA-A8AB-47C2C3DB8B94}" dt="2021-04-30T21:28:25.042" v="6289" actId="14100"/>
        <pc:sldMkLst>
          <pc:docMk/>
          <pc:sldMk cId="2353713089" sldId="277"/>
        </pc:sldMkLst>
        <pc:spChg chg="add mod">
          <ac:chgData name="George Aronson" userId="15cf36f7eeb55921" providerId="LiveId" clId="{1B15DD86-F951-41AA-A8AB-47C2C3DB8B94}" dt="2021-04-30T21:22:14.370" v="5833" actId="1076"/>
          <ac:spMkLst>
            <pc:docMk/>
            <pc:sldMk cId="2353713089" sldId="277"/>
            <ac:spMk id="20" creationId="{712AE18D-9584-4BC8-971C-BA66B0C6DA14}"/>
          </ac:spMkLst>
        </pc:spChg>
        <pc:spChg chg="mod">
          <ac:chgData name="George Aronson" userId="15cf36f7eeb55921" providerId="LiveId" clId="{1B15DD86-F951-41AA-A8AB-47C2C3DB8B94}" dt="2021-04-29T21:44:03.153" v="4252" actId="20577"/>
          <ac:spMkLst>
            <pc:docMk/>
            <pc:sldMk cId="2353713089" sldId="277"/>
            <ac:spMk id="25" creationId="{9D34E8B0-2954-4BDA-83A6-3AAA94B05AEA}"/>
          </ac:spMkLst>
        </pc:spChg>
        <pc:spChg chg="del mod">
          <ac:chgData name="George Aronson" userId="15cf36f7eeb55921" providerId="LiveId" clId="{1B15DD86-F951-41AA-A8AB-47C2C3DB8B94}" dt="2021-04-29T21:44:12.505" v="4256"/>
          <ac:spMkLst>
            <pc:docMk/>
            <pc:sldMk cId="2353713089" sldId="277"/>
            <ac:spMk id="31" creationId="{CE3B9971-F1D5-4509-B708-3DD4B3C96FC8}"/>
          </ac:spMkLst>
        </pc:spChg>
        <pc:grpChg chg="mod">
          <ac:chgData name="George Aronson" userId="15cf36f7eeb55921" providerId="LiveId" clId="{1B15DD86-F951-41AA-A8AB-47C2C3DB8B94}" dt="2021-04-30T21:14:07.454" v="5112" actId="1076"/>
          <ac:grpSpMkLst>
            <pc:docMk/>
            <pc:sldMk cId="2353713089" sldId="277"/>
            <ac:grpSpMk id="43" creationId="{0FF785E5-A270-4098-8825-22A9F96BA3E7}"/>
          </ac:grpSpMkLst>
        </pc:grpChg>
        <pc:picChg chg="del">
          <ac:chgData name="George Aronson" userId="15cf36f7eeb55921" providerId="LiveId" clId="{1B15DD86-F951-41AA-A8AB-47C2C3DB8B94}" dt="2021-04-29T21:43:36.940" v="4196" actId="478"/>
          <ac:picMkLst>
            <pc:docMk/>
            <pc:sldMk cId="2353713089" sldId="277"/>
            <ac:picMk id="19" creationId="{C3A6687C-E795-4CB1-BD06-88A2637C0D69}"/>
          </ac:picMkLst>
        </pc:picChg>
        <pc:picChg chg="add del mod">
          <ac:chgData name="George Aronson" userId="15cf36f7eeb55921" providerId="LiveId" clId="{1B15DD86-F951-41AA-A8AB-47C2C3DB8B94}" dt="2021-04-30T21:28:08.871" v="6284" actId="478"/>
          <ac:picMkLst>
            <pc:docMk/>
            <pc:sldMk cId="2353713089" sldId="277"/>
            <ac:picMk id="24" creationId="{5E81CBBF-7F41-4FCD-AF10-C5AB94382DD2}"/>
          </ac:picMkLst>
        </pc:picChg>
        <pc:picChg chg="add mod">
          <ac:chgData name="George Aronson" userId="15cf36f7eeb55921" providerId="LiveId" clId="{1B15DD86-F951-41AA-A8AB-47C2C3DB8B94}" dt="2021-04-30T21:28:25.042" v="6289" actId="14100"/>
          <ac:picMkLst>
            <pc:docMk/>
            <pc:sldMk cId="2353713089" sldId="277"/>
            <ac:picMk id="28" creationId="{842F0B1A-A2E6-402E-8684-4A3633618949}"/>
          </ac:picMkLst>
        </pc:picChg>
        <pc:picChg chg="add mod">
          <ac:chgData name="George Aronson" userId="15cf36f7eeb55921" providerId="LiveId" clId="{1B15DD86-F951-41AA-A8AB-47C2C3DB8B94}" dt="2021-04-30T21:28:22.139" v="6288" actId="14100"/>
          <ac:picMkLst>
            <pc:docMk/>
            <pc:sldMk cId="2353713089" sldId="277"/>
            <ac:picMk id="29" creationId="{13FD371A-E2F0-44A4-B760-EF5EA6800773}"/>
          </ac:picMkLst>
        </pc:picChg>
      </pc:sldChg>
      <pc:sldChg chg="addSp delSp modSp add mod">
        <pc:chgData name="George Aronson" userId="15cf36f7eeb55921" providerId="LiveId" clId="{1B15DD86-F951-41AA-A8AB-47C2C3DB8B94}" dt="2021-04-30T22:11:26.807" v="7985" actId="6549"/>
        <pc:sldMkLst>
          <pc:docMk/>
          <pc:sldMk cId="2929156870" sldId="278"/>
        </pc:sldMkLst>
        <pc:spChg chg="add mod">
          <ac:chgData name="George Aronson" userId="15cf36f7eeb55921" providerId="LiveId" clId="{1B15DD86-F951-41AA-A8AB-47C2C3DB8B94}" dt="2021-04-30T22:11:26.807" v="7985" actId="6549"/>
          <ac:spMkLst>
            <pc:docMk/>
            <pc:sldMk cId="2929156870" sldId="278"/>
            <ac:spMk id="17" creationId="{2A8E7817-2A53-4AD5-A050-472F7F02D12E}"/>
          </ac:spMkLst>
        </pc:spChg>
        <pc:spChg chg="mod">
          <ac:chgData name="George Aronson" userId="15cf36f7eeb55921" providerId="LiveId" clId="{1B15DD86-F951-41AA-A8AB-47C2C3DB8B94}" dt="2021-04-29T21:45:14.306" v="4294" actId="20577"/>
          <ac:spMkLst>
            <pc:docMk/>
            <pc:sldMk cId="2929156870" sldId="278"/>
            <ac:spMk id="25" creationId="{9D34E8B0-2954-4BDA-83A6-3AAA94B05AEA}"/>
          </ac:spMkLst>
        </pc:spChg>
        <pc:picChg chg="add del mod">
          <ac:chgData name="George Aronson" userId="15cf36f7eeb55921" providerId="LiveId" clId="{1B15DD86-F951-41AA-A8AB-47C2C3DB8B94}" dt="2021-04-30T21:29:13.285" v="6293" actId="478"/>
          <ac:picMkLst>
            <pc:docMk/>
            <pc:sldMk cId="2929156870" sldId="278"/>
            <ac:picMk id="19" creationId="{AF8A77CF-CF45-48BA-82AC-FBB161721034}"/>
          </ac:picMkLst>
        </pc:picChg>
        <pc:picChg chg="add mod">
          <ac:chgData name="George Aronson" userId="15cf36f7eeb55921" providerId="LiveId" clId="{1B15DD86-F951-41AA-A8AB-47C2C3DB8B94}" dt="2021-04-30T21:30:41.137" v="6356" actId="1076"/>
          <ac:picMkLst>
            <pc:docMk/>
            <pc:sldMk cId="2929156870" sldId="278"/>
            <ac:picMk id="20" creationId="{9BD97410-AC3A-4A7D-9607-EAA76CF085CC}"/>
          </ac:picMkLst>
        </pc:picChg>
        <pc:picChg chg="add mod">
          <ac:chgData name="George Aronson" userId="15cf36f7eeb55921" providerId="LiveId" clId="{1B15DD86-F951-41AA-A8AB-47C2C3DB8B94}" dt="2021-04-30T21:30:44.579" v="6357" actId="1076"/>
          <ac:picMkLst>
            <pc:docMk/>
            <pc:sldMk cId="2929156870" sldId="278"/>
            <ac:picMk id="24" creationId="{8CB53FDF-4989-4483-8B84-632FEAF308B2}"/>
          </ac:picMkLst>
        </pc:picChg>
      </pc:sldChg>
      <pc:sldChg chg="modSp add del mod">
        <pc:chgData name="George Aronson" userId="15cf36f7eeb55921" providerId="LiveId" clId="{1B15DD86-F951-41AA-A8AB-47C2C3DB8B94}" dt="2021-04-30T21:45:00.228" v="7481" actId="47"/>
        <pc:sldMkLst>
          <pc:docMk/>
          <pc:sldMk cId="3078365280" sldId="279"/>
        </pc:sldMkLst>
        <pc:spChg chg="mod">
          <ac:chgData name="George Aronson" userId="15cf36f7eeb55921" providerId="LiveId" clId="{1B15DD86-F951-41AA-A8AB-47C2C3DB8B94}" dt="2021-04-29T21:45:05.899" v="4293" actId="20577"/>
          <ac:spMkLst>
            <pc:docMk/>
            <pc:sldMk cId="3078365280" sldId="279"/>
            <ac:spMk id="25" creationId="{9D34E8B0-2954-4BDA-83A6-3AAA94B05AEA}"/>
          </ac:spMkLst>
        </pc:spChg>
      </pc:sldChg>
      <pc:sldChg chg="addSp modSp add mod">
        <pc:chgData name="George Aronson" userId="15cf36f7eeb55921" providerId="LiveId" clId="{1B15DD86-F951-41AA-A8AB-47C2C3DB8B94}" dt="2021-05-03T18:10:07.790" v="8519" actId="20577"/>
        <pc:sldMkLst>
          <pc:docMk/>
          <pc:sldMk cId="1574821440" sldId="280"/>
        </pc:sldMkLst>
        <pc:spChg chg="add mod">
          <ac:chgData name="George Aronson" userId="15cf36f7eeb55921" providerId="LiveId" clId="{1B15DD86-F951-41AA-A8AB-47C2C3DB8B94}" dt="2021-05-03T18:10:07.790" v="8519" actId="20577"/>
          <ac:spMkLst>
            <pc:docMk/>
            <pc:sldMk cId="1574821440" sldId="280"/>
            <ac:spMk id="17" creationId="{4AB6B2E7-906E-47D9-AC86-9D46D177BE77}"/>
          </ac:spMkLst>
        </pc:spChg>
        <pc:spChg chg="mod">
          <ac:chgData name="George Aronson" userId="15cf36f7eeb55921" providerId="LiveId" clId="{1B15DD86-F951-41AA-A8AB-47C2C3DB8B94}" dt="2021-04-30T21:45:33.385" v="7494" actId="6549"/>
          <ac:spMkLst>
            <pc:docMk/>
            <pc:sldMk cId="1574821440" sldId="280"/>
            <ac:spMk id="25" creationId="{9D34E8B0-2954-4BDA-83A6-3AAA94B05AEA}"/>
          </ac:spMkLst>
        </pc:spChg>
      </pc:sldChg>
      <pc:sldChg chg="addSp delSp modSp add mod">
        <pc:chgData name="George Aronson" userId="15cf36f7eeb55921" providerId="LiveId" clId="{1B15DD86-F951-41AA-A8AB-47C2C3DB8B94}" dt="2021-04-30T13:56:00.470" v="4949" actId="6549"/>
        <pc:sldMkLst>
          <pc:docMk/>
          <pc:sldMk cId="1117868403" sldId="281"/>
        </pc:sldMkLst>
        <pc:spChg chg="add mod">
          <ac:chgData name="George Aronson" userId="15cf36f7eeb55921" providerId="LiveId" clId="{1B15DD86-F951-41AA-A8AB-47C2C3DB8B94}" dt="2021-04-30T13:56:00.470" v="4949" actId="6549"/>
          <ac:spMkLst>
            <pc:docMk/>
            <pc:sldMk cId="1117868403" sldId="281"/>
            <ac:spMk id="19" creationId="{2011DC13-E60B-4BD1-8C8B-6731CE50C88A}"/>
          </ac:spMkLst>
        </pc:spChg>
        <pc:spChg chg="mod">
          <ac:chgData name="George Aronson" userId="15cf36f7eeb55921" providerId="LiveId" clId="{1B15DD86-F951-41AA-A8AB-47C2C3DB8B94}" dt="2021-04-30T13:48:18.230" v="4574" actId="20577"/>
          <ac:spMkLst>
            <pc:docMk/>
            <pc:sldMk cId="1117868403" sldId="281"/>
            <ac:spMk id="25" creationId="{9D34E8B0-2954-4BDA-83A6-3AAA94B05AEA}"/>
          </ac:spMkLst>
        </pc:spChg>
        <pc:spChg chg="add mod">
          <ac:chgData name="George Aronson" userId="15cf36f7eeb55921" providerId="LiveId" clId="{1B15DD86-F951-41AA-A8AB-47C2C3DB8B94}" dt="2021-04-30T13:55:25.527" v="4944" actId="6549"/>
          <ac:spMkLst>
            <pc:docMk/>
            <pc:sldMk cId="1117868403" sldId="281"/>
            <ac:spMk id="28" creationId="{BF56FC78-81CC-4BE0-B12D-9A0F00594080}"/>
          </ac:spMkLst>
        </pc:spChg>
        <pc:spChg chg="del">
          <ac:chgData name="George Aronson" userId="15cf36f7eeb55921" providerId="LiveId" clId="{1B15DD86-F951-41AA-A8AB-47C2C3DB8B94}" dt="2021-04-30T13:50:21.227" v="4623" actId="478"/>
          <ac:spMkLst>
            <pc:docMk/>
            <pc:sldMk cId="1117868403" sldId="281"/>
            <ac:spMk id="48" creationId="{7804CC71-5DCD-474C-8A5C-DF578BCFA07F}"/>
          </ac:spMkLst>
        </pc:spChg>
        <pc:grpChg chg="mod">
          <ac:chgData name="George Aronson" userId="15cf36f7eeb55921" providerId="LiveId" clId="{1B15DD86-F951-41AA-A8AB-47C2C3DB8B94}" dt="2021-04-30T13:52:17.054" v="4701" actId="1076"/>
          <ac:grpSpMkLst>
            <pc:docMk/>
            <pc:sldMk cId="1117868403" sldId="281"/>
            <ac:grpSpMk id="43" creationId="{0FF785E5-A270-4098-8825-22A9F96BA3E7}"/>
          </ac:grpSpMkLst>
        </pc:grpChg>
        <pc:picChg chg="add mod">
          <ac:chgData name="George Aronson" userId="15cf36f7eeb55921" providerId="LiveId" clId="{1B15DD86-F951-41AA-A8AB-47C2C3DB8B94}" dt="2021-04-30T13:54:30.119" v="4892" actId="962"/>
          <ac:picMkLst>
            <pc:docMk/>
            <pc:sldMk cId="1117868403" sldId="281"/>
            <ac:picMk id="17" creationId="{10C7C740-3D71-4AA7-8A18-7BFBEB15A418}"/>
          </ac:picMkLst>
        </pc:picChg>
        <pc:picChg chg="add del mod">
          <ac:chgData name="George Aronson" userId="15cf36f7eeb55921" providerId="LiveId" clId="{1B15DD86-F951-41AA-A8AB-47C2C3DB8B94}" dt="2021-04-30T13:52:51.069" v="4721" actId="478"/>
          <ac:picMkLst>
            <pc:docMk/>
            <pc:sldMk cId="1117868403" sldId="281"/>
            <ac:picMk id="20" creationId="{3D9C369E-ACCC-4B8D-9B05-C054536E790B}"/>
          </ac:picMkLst>
        </pc:picChg>
        <pc:picChg chg="add del mod">
          <ac:chgData name="George Aronson" userId="15cf36f7eeb55921" providerId="LiveId" clId="{1B15DD86-F951-41AA-A8AB-47C2C3DB8B94}" dt="2021-04-30T13:52:47.253" v="4719" actId="478"/>
          <ac:picMkLst>
            <pc:docMk/>
            <pc:sldMk cId="1117868403" sldId="281"/>
            <ac:picMk id="24" creationId="{58803200-660D-45BD-9FBD-81368EEE4A58}"/>
          </ac:picMkLst>
        </pc:picChg>
        <pc:picChg chg="add del mod">
          <ac:chgData name="George Aronson" userId="15cf36f7eeb55921" providerId="LiveId" clId="{1B15DD86-F951-41AA-A8AB-47C2C3DB8B94}" dt="2021-04-30T13:52:29.590" v="4718" actId="478"/>
          <ac:picMkLst>
            <pc:docMk/>
            <pc:sldMk cId="1117868403" sldId="281"/>
            <ac:picMk id="65" creationId="{42C257B8-45FB-504C-8839-2139CE760F17}"/>
          </ac:picMkLst>
        </pc:picChg>
        <pc:picChg chg="del">
          <ac:chgData name="George Aronson" userId="15cf36f7eeb55921" providerId="LiveId" clId="{1B15DD86-F951-41AA-A8AB-47C2C3DB8B94}" dt="2021-04-30T13:50:24.469" v="4624" actId="478"/>
          <ac:picMkLst>
            <pc:docMk/>
            <pc:sldMk cId="1117868403" sldId="281"/>
            <ac:picMk id="66" creationId="{BD7B630F-A9F6-4B43-A14E-ED25E5AB54C5}"/>
          </ac:picMkLst>
        </pc:picChg>
      </pc:sldChg>
      <pc:sldChg chg="addSp delSp modSp add mod">
        <pc:chgData name="George Aronson" userId="15cf36f7eeb55921" providerId="LiveId" clId="{1B15DD86-F951-41AA-A8AB-47C2C3DB8B94}" dt="2021-04-30T21:40:49.609" v="7126" actId="1076"/>
        <pc:sldMkLst>
          <pc:docMk/>
          <pc:sldMk cId="1113031103" sldId="282"/>
        </pc:sldMkLst>
        <pc:spChg chg="mod">
          <ac:chgData name="George Aronson" userId="15cf36f7eeb55921" providerId="LiveId" clId="{1B15DD86-F951-41AA-A8AB-47C2C3DB8B94}" dt="2021-04-30T21:40:49.609" v="7126" actId="1076"/>
          <ac:spMkLst>
            <pc:docMk/>
            <pc:sldMk cId="1113031103" sldId="282"/>
            <ac:spMk id="17" creationId="{2A8E7817-2A53-4AD5-A050-472F7F02D12E}"/>
          </ac:spMkLst>
        </pc:spChg>
        <pc:picChg chg="del mod">
          <ac:chgData name="George Aronson" userId="15cf36f7eeb55921" providerId="LiveId" clId="{1B15DD86-F951-41AA-A8AB-47C2C3DB8B94}" dt="2021-04-30T21:31:25.789" v="6365" actId="478"/>
          <ac:picMkLst>
            <pc:docMk/>
            <pc:sldMk cId="1113031103" sldId="282"/>
            <ac:picMk id="20" creationId="{9BD97410-AC3A-4A7D-9607-EAA76CF085CC}"/>
          </ac:picMkLst>
        </pc:picChg>
        <pc:picChg chg="del">
          <ac:chgData name="George Aronson" userId="15cf36f7eeb55921" providerId="LiveId" clId="{1B15DD86-F951-41AA-A8AB-47C2C3DB8B94}" dt="2021-04-30T21:31:22.532" v="6363" actId="478"/>
          <ac:picMkLst>
            <pc:docMk/>
            <pc:sldMk cId="1113031103" sldId="282"/>
            <ac:picMk id="24" creationId="{8CB53FDF-4989-4483-8B84-632FEAF308B2}"/>
          </ac:picMkLst>
        </pc:picChg>
        <pc:picChg chg="add mod">
          <ac:chgData name="George Aronson" userId="15cf36f7eeb55921" providerId="LiveId" clId="{1B15DD86-F951-41AA-A8AB-47C2C3DB8B94}" dt="2021-04-30T21:40:34.994" v="7119" actId="1076"/>
          <ac:picMkLst>
            <pc:docMk/>
            <pc:sldMk cId="1113031103" sldId="282"/>
            <ac:picMk id="28" creationId="{E80EF526-ECFA-4B50-ACB1-0E72A9BE4FDF}"/>
          </ac:picMkLst>
        </pc:picChg>
        <pc:picChg chg="add mod">
          <ac:chgData name="George Aronson" userId="15cf36f7eeb55921" providerId="LiveId" clId="{1B15DD86-F951-41AA-A8AB-47C2C3DB8B94}" dt="2021-04-30T21:40:31.065" v="7117" actId="1076"/>
          <ac:picMkLst>
            <pc:docMk/>
            <pc:sldMk cId="1113031103" sldId="282"/>
            <ac:picMk id="29" creationId="{784EA7A3-1750-4C3D-9AEE-3ED43769F5B0}"/>
          </ac:picMkLst>
        </pc:picChg>
      </pc:sldChg>
      <pc:sldChg chg="delSp modSp add mod">
        <pc:chgData name="George Aronson" userId="15cf36f7eeb55921" providerId="LiveId" clId="{1B15DD86-F951-41AA-A8AB-47C2C3DB8B94}" dt="2021-05-05T18:14:04.662" v="8922" actId="20577"/>
        <pc:sldMkLst>
          <pc:docMk/>
          <pc:sldMk cId="1546982260" sldId="283"/>
        </pc:sldMkLst>
        <pc:spChg chg="mod">
          <ac:chgData name="George Aronson" userId="15cf36f7eeb55921" providerId="LiveId" clId="{1B15DD86-F951-41AA-A8AB-47C2C3DB8B94}" dt="2021-05-05T18:14:04.662" v="8922" actId="20577"/>
          <ac:spMkLst>
            <pc:docMk/>
            <pc:sldMk cId="1546982260" sldId="283"/>
            <ac:spMk id="17" creationId="{2A8E7817-2A53-4AD5-A050-472F7F02D12E}"/>
          </ac:spMkLst>
        </pc:spChg>
        <pc:spChg chg="mod">
          <ac:chgData name="George Aronson" userId="15cf36f7eeb55921" providerId="LiveId" clId="{1B15DD86-F951-41AA-A8AB-47C2C3DB8B94}" dt="2021-04-30T21:41:12.160" v="7137" actId="6549"/>
          <ac:spMkLst>
            <pc:docMk/>
            <pc:sldMk cId="1546982260" sldId="283"/>
            <ac:spMk id="25" creationId="{9D34E8B0-2954-4BDA-83A6-3AAA94B05AEA}"/>
          </ac:spMkLst>
        </pc:spChg>
        <pc:picChg chg="del">
          <ac:chgData name="George Aronson" userId="15cf36f7eeb55921" providerId="LiveId" clId="{1B15DD86-F951-41AA-A8AB-47C2C3DB8B94}" dt="2021-04-30T21:40:57.614" v="7127" actId="478"/>
          <ac:picMkLst>
            <pc:docMk/>
            <pc:sldMk cId="1546982260" sldId="283"/>
            <ac:picMk id="28" creationId="{E80EF526-ECFA-4B50-ACB1-0E72A9BE4FDF}"/>
          </ac:picMkLst>
        </pc:picChg>
        <pc:picChg chg="del">
          <ac:chgData name="George Aronson" userId="15cf36f7eeb55921" providerId="LiveId" clId="{1B15DD86-F951-41AA-A8AB-47C2C3DB8B94}" dt="2021-04-30T21:40:58.162" v="7128" actId="478"/>
          <ac:picMkLst>
            <pc:docMk/>
            <pc:sldMk cId="1546982260" sldId="283"/>
            <ac:picMk id="29" creationId="{784EA7A3-1750-4C3D-9AEE-3ED43769F5B0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6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Maine Wholesale and PERC PPA </a:t>
            </a:r>
          </a:p>
          <a:p>
            <a:pPr>
              <a:defRPr/>
            </a:pPr>
            <a:r>
              <a:rPr lang="en-US" dirty="0"/>
              <a:t>Electricity</a:t>
            </a:r>
            <a:r>
              <a:rPr lang="en-US" baseline="0" dirty="0"/>
              <a:t> </a:t>
            </a:r>
            <a:r>
              <a:rPr lang="en-US" dirty="0"/>
              <a:t>Prices:   </a:t>
            </a:r>
          </a:p>
          <a:p>
            <a:pPr>
              <a:defRPr/>
            </a:pPr>
            <a:r>
              <a:rPr lang="en-US" sz="1400" dirty="0"/>
              <a:t>ISO-NE Zonal Monthly Average LMPs $/MWh </a:t>
            </a:r>
          </a:p>
        </c:rich>
      </c:tx>
      <c:layout>
        <c:manualLayout>
          <c:xMode val="edge"/>
          <c:yMode val="edge"/>
          <c:x val="0.22334097648187443"/>
          <c:y val="1.3386455046756767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3664423384400709"/>
          <c:y val="0.11341316966310444"/>
          <c:w val="0.82036687112997475"/>
          <c:h val="0.77818119205574443"/>
        </c:manualLayout>
      </c:layout>
      <c:lineChart>
        <c:grouping val="standard"/>
        <c:varyColors val="0"/>
        <c:ser>
          <c:idx val="0"/>
          <c:order val="0"/>
          <c:tx>
            <c:strRef>
              <c:f>'[Maine Zone LMPs ISO RT markets.xlsx]LMPs'!$B$4:$B$8</c:f>
              <c:strCache>
                <c:ptCount val="5"/>
                <c:pt idx="1">
                  <c:v> Maine </c:v>
                </c:pt>
                <c:pt idx="2">
                  <c:v> wholesale </c:v>
                </c:pt>
                <c:pt idx="3">
                  <c:v> elec price </c:v>
                </c:pt>
                <c:pt idx="4">
                  <c:v> monthly average </c:v>
                </c:pt>
              </c:strCache>
            </c:strRef>
          </c:tx>
          <c:cat>
            <c:numRef>
              <c:f>'[Maine Zone LMPs ISO RT markets.xlsx]LMPs'!$A$9:$A$143</c:f>
              <c:numCache>
                <c:formatCode>mmm\-yy</c:formatCode>
                <c:ptCount val="135"/>
                <c:pt idx="0">
                  <c:v>40179</c:v>
                </c:pt>
                <c:pt idx="1">
                  <c:v>40210</c:v>
                </c:pt>
                <c:pt idx="2">
                  <c:v>40238</c:v>
                </c:pt>
                <c:pt idx="3">
                  <c:v>40269</c:v>
                </c:pt>
                <c:pt idx="4">
                  <c:v>40299</c:v>
                </c:pt>
                <c:pt idx="5">
                  <c:v>40330</c:v>
                </c:pt>
                <c:pt idx="6">
                  <c:v>40360</c:v>
                </c:pt>
                <c:pt idx="7">
                  <c:v>40391</c:v>
                </c:pt>
                <c:pt idx="8">
                  <c:v>40422</c:v>
                </c:pt>
                <c:pt idx="9">
                  <c:v>40452</c:v>
                </c:pt>
                <c:pt idx="10">
                  <c:v>40483</c:v>
                </c:pt>
                <c:pt idx="11">
                  <c:v>40513</c:v>
                </c:pt>
                <c:pt idx="12">
                  <c:v>40544</c:v>
                </c:pt>
                <c:pt idx="13">
                  <c:v>40575</c:v>
                </c:pt>
                <c:pt idx="14">
                  <c:v>40603</c:v>
                </c:pt>
                <c:pt idx="15">
                  <c:v>40634</c:v>
                </c:pt>
                <c:pt idx="16">
                  <c:v>40664</c:v>
                </c:pt>
                <c:pt idx="17">
                  <c:v>40695</c:v>
                </c:pt>
                <c:pt idx="18">
                  <c:v>40725</c:v>
                </c:pt>
                <c:pt idx="19">
                  <c:v>40756</c:v>
                </c:pt>
                <c:pt idx="20">
                  <c:v>40787</c:v>
                </c:pt>
                <c:pt idx="21">
                  <c:v>40817</c:v>
                </c:pt>
                <c:pt idx="22">
                  <c:v>40848</c:v>
                </c:pt>
                <c:pt idx="23">
                  <c:v>40878</c:v>
                </c:pt>
                <c:pt idx="24">
                  <c:v>40909</c:v>
                </c:pt>
                <c:pt idx="25">
                  <c:v>40940</c:v>
                </c:pt>
                <c:pt idx="26">
                  <c:v>40969</c:v>
                </c:pt>
                <c:pt idx="27">
                  <c:v>41000</c:v>
                </c:pt>
                <c:pt idx="28">
                  <c:v>41030</c:v>
                </c:pt>
                <c:pt idx="29">
                  <c:v>41061</c:v>
                </c:pt>
                <c:pt idx="30">
                  <c:v>41091</c:v>
                </c:pt>
                <c:pt idx="31">
                  <c:v>41122</c:v>
                </c:pt>
                <c:pt idx="32">
                  <c:v>41153</c:v>
                </c:pt>
                <c:pt idx="33">
                  <c:v>41183</c:v>
                </c:pt>
                <c:pt idx="34">
                  <c:v>41214</c:v>
                </c:pt>
                <c:pt idx="35">
                  <c:v>41244</c:v>
                </c:pt>
                <c:pt idx="36">
                  <c:v>41275</c:v>
                </c:pt>
                <c:pt idx="37">
                  <c:v>41306</c:v>
                </c:pt>
                <c:pt idx="38">
                  <c:v>41334</c:v>
                </c:pt>
                <c:pt idx="39">
                  <c:v>41365</c:v>
                </c:pt>
                <c:pt idx="40">
                  <c:v>41395</c:v>
                </c:pt>
                <c:pt idx="41">
                  <c:v>41426</c:v>
                </c:pt>
                <c:pt idx="42">
                  <c:v>41456</c:v>
                </c:pt>
                <c:pt idx="43">
                  <c:v>41487</c:v>
                </c:pt>
                <c:pt idx="44">
                  <c:v>41518</c:v>
                </c:pt>
                <c:pt idx="45">
                  <c:v>41548</c:v>
                </c:pt>
                <c:pt idx="46">
                  <c:v>41579</c:v>
                </c:pt>
                <c:pt idx="47">
                  <c:v>41609</c:v>
                </c:pt>
                <c:pt idx="48">
                  <c:v>41640</c:v>
                </c:pt>
                <c:pt idx="49">
                  <c:v>41671</c:v>
                </c:pt>
                <c:pt idx="50">
                  <c:v>41699</c:v>
                </c:pt>
                <c:pt idx="51">
                  <c:v>41730</c:v>
                </c:pt>
                <c:pt idx="52">
                  <c:v>41760</c:v>
                </c:pt>
                <c:pt idx="53">
                  <c:v>41791</c:v>
                </c:pt>
                <c:pt idx="54">
                  <c:v>41821</c:v>
                </c:pt>
                <c:pt idx="55">
                  <c:v>41852</c:v>
                </c:pt>
                <c:pt idx="56">
                  <c:v>41883</c:v>
                </c:pt>
                <c:pt idx="57">
                  <c:v>41913</c:v>
                </c:pt>
                <c:pt idx="58">
                  <c:v>41944</c:v>
                </c:pt>
                <c:pt idx="59">
                  <c:v>41974</c:v>
                </c:pt>
                <c:pt idx="60">
                  <c:v>42005</c:v>
                </c:pt>
                <c:pt idx="61">
                  <c:v>42036</c:v>
                </c:pt>
                <c:pt idx="62">
                  <c:v>42064</c:v>
                </c:pt>
                <c:pt idx="63">
                  <c:v>42095</c:v>
                </c:pt>
                <c:pt idx="64">
                  <c:v>42125</c:v>
                </c:pt>
                <c:pt idx="65">
                  <c:v>42156</c:v>
                </c:pt>
                <c:pt idx="66">
                  <c:v>42186</c:v>
                </c:pt>
                <c:pt idx="67">
                  <c:v>42217</c:v>
                </c:pt>
                <c:pt idx="68">
                  <c:v>42248</c:v>
                </c:pt>
                <c:pt idx="69">
                  <c:v>42278</c:v>
                </c:pt>
                <c:pt idx="70">
                  <c:v>42309</c:v>
                </c:pt>
                <c:pt idx="71">
                  <c:v>42339</c:v>
                </c:pt>
                <c:pt idx="72">
                  <c:v>42370</c:v>
                </c:pt>
                <c:pt idx="73">
                  <c:v>42401</c:v>
                </c:pt>
                <c:pt idx="74">
                  <c:v>42430</c:v>
                </c:pt>
                <c:pt idx="75">
                  <c:v>42461</c:v>
                </c:pt>
                <c:pt idx="76">
                  <c:v>42491</c:v>
                </c:pt>
                <c:pt idx="77">
                  <c:v>42522</c:v>
                </c:pt>
                <c:pt idx="78">
                  <c:v>42552</c:v>
                </c:pt>
                <c:pt idx="79">
                  <c:v>42583</c:v>
                </c:pt>
                <c:pt idx="80">
                  <c:v>42614</c:v>
                </c:pt>
                <c:pt idx="81">
                  <c:v>42644</c:v>
                </c:pt>
                <c:pt idx="82">
                  <c:v>42675</c:v>
                </c:pt>
                <c:pt idx="83">
                  <c:v>42705</c:v>
                </c:pt>
                <c:pt idx="84">
                  <c:v>42736</c:v>
                </c:pt>
                <c:pt idx="85">
                  <c:v>42767</c:v>
                </c:pt>
                <c:pt idx="86">
                  <c:v>42795</c:v>
                </c:pt>
                <c:pt idx="87">
                  <c:v>42826</c:v>
                </c:pt>
                <c:pt idx="88">
                  <c:v>42856</c:v>
                </c:pt>
                <c:pt idx="89">
                  <c:v>42887</c:v>
                </c:pt>
                <c:pt idx="90">
                  <c:v>42917</c:v>
                </c:pt>
                <c:pt idx="91">
                  <c:v>42948</c:v>
                </c:pt>
                <c:pt idx="92">
                  <c:v>42979</c:v>
                </c:pt>
                <c:pt idx="93">
                  <c:v>43009</c:v>
                </c:pt>
                <c:pt idx="94">
                  <c:v>43040</c:v>
                </c:pt>
                <c:pt idx="95">
                  <c:v>43070</c:v>
                </c:pt>
                <c:pt idx="96">
                  <c:v>43101</c:v>
                </c:pt>
                <c:pt idx="97">
                  <c:v>43132</c:v>
                </c:pt>
                <c:pt idx="98">
                  <c:v>43160</c:v>
                </c:pt>
                <c:pt idx="99">
                  <c:v>43191</c:v>
                </c:pt>
                <c:pt idx="100">
                  <c:v>43221</c:v>
                </c:pt>
                <c:pt idx="101">
                  <c:v>43252</c:v>
                </c:pt>
                <c:pt idx="102">
                  <c:v>43282</c:v>
                </c:pt>
                <c:pt idx="103">
                  <c:v>43313</c:v>
                </c:pt>
                <c:pt idx="104">
                  <c:v>43344</c:v>
                </c:pt>
                <c:pt idx="105">
                  <c:v>43374</c:v>
                </c:pt>
                <c:pt idx="106">
                  <c:v>43405</c:v>
                </c:pt>
                <c:pt idx="107">
                  <c:v>43435</c:v>
                </c:pt>
                <c:pt idx="108">
                  <c:v>43466</c:v>
                </c:pt>
                <c:pt idx="109">
                  <c:v>43497</c:v>
                </c:pt>
                <c:pt idx="110">
                  <c:v>43525</c:v>
                </c:pt>
                <c:pt idx="111">
                  <c:v>43556</c:v>
                </c:pt>
                <c:pt idx="112">
                  <c:v>43586</c:v>
                </c:pt>
                <c:pt idx="113">
                  <c:v>43617</c:v>
                </c:pt>
                <c:pt idx="114">
                  <c:v>43647</c:v>
                </c:pt>
                <c:pt idx="115">
                  <c:v>43678</c:v>
                </c:pt>
                <c:pt idx="116">
                  <c:v>43709</c:v>
                </c:pt>
                <c:pt idx="117">
                  <c:v>43739</c:v>
                </c:pt>
                <c:pt idx="118">
                  <c:v>43770</c:v>
                </c:pt>
                <c:pt idx="119">
                  <c:v>43800</c:v>
                </c:pt>
                <c:pt idx="120">
                  <c:v>43831</c:v>
                </c:pt>
                <c:pt idx="121">
                  <c:v>43862</c:v>
                </c:pt>
                <c:pt idx="122">
                  <c:v>43891</c:v>
                </c:pt>
                <c:pt idx="123">
                  <c:v>43922</c:v>
                </c:pt>
                <c:pt idx="124">
                  <c:v>43952</c:v>
                </c:pt>
                <c:pt idx="125">
                  <c:v>43983</c:v>
                </c:pt>
                <c:pt idx="126">
                  <c:v>44013</c:v>
                </c:pt>
                <c:pt idx="127">
                  <c:v>44044</c:v>
                </c:pt>
                <c:pt idx="128">
                  <c:v>44075</c:v>
                </c:pt>
                <c:pt idx="129">
                  <c:v>44105</c:v>
                </c:pt>
                <c:pt idx="130">
                  <c:v>44136</c:v>
                </c:pt>
                <c:pt idx="131">
                  <c:v>44166</c:v>
                </c:pt>
                <c:pt idx="132">
                  <c:v>44197</c:v>
                </c:pt>
                <c:pt idx="133">
                  <c:v>44228</c:v>
                </c:pt>
                <c:pt idx="134">
                  <c:v>44256</c:v>
                </c:pt>
              </c:numCache>
            </c:numRef>
          </c:cat>
          <c:val>
            <c:numRef>
              <c:f>'[Maine Zone LMPs ISO RT markets.xlsx]LMPs'!$B$9:$B$143</c:f>
              <c:numCache>
                <c:formatCode>_(* #,##0.00_);_(* \(#,##0.00\);_(* "-"??_);_(@_)</c:formatCode>
                <c:ptCount val="135"/>
                <c:pt idx="0">
                  <c:v>60.16</c:v>
                </c:pt>
                <c:pt idx="1">
                  <c:v>50.94</c:v>
                </c:pt>
                <c:pt idx="2">
                  <c:v>37.06</c:v>
                </c:pt>
                <c:pt idx="3">
                  <c:v>33.18</c:v>
                </c:pt>
                <c:pt idx="4">
                  <c:v>44.7</c:v>
                </c:pt>
                <c:pt idx="5">
                  <c:v>48.88</c:v>
                </c:pt>
                <c:pt idx="6">
                  <c:v>56.66</c:v>
                </c:pt>
                <c:pt idx="7">
                  <c:v>53.2</c:v>
                </c:pt>
                <c:pt idx="8">
                  <c:v>46.19</c:v>
                </c:pt>
                <c:pt idx="9">
                  <c:v>34.18</c:v>
                </c:pt>
                <c:pt idx="10">
                  <c:v>40</c:v>
                </c:pt>
                <c:pt idx="11">
                  <c:v>59.97</c:v>
                </c:pt>
                <c:pt idx="12">
                  <c:v>70.23</c:v>
                </c:pt>
                <c:pt idx="13">
                  <c:v>56.91</c:v>
                </c:pt>
                <c:pt idx="14">
                  <c:v>43.78</c:v>
                </c:pt>
                <c:pt idx="15">
                  <c:v>42.1</c:v>
                </c:pt>
                <c:pt idx="16">
                  <c:v>41.16</c:v>
                </c:pt>
                <c:pt idx="17">
                  <c:v>40.369999999999997</c:v>
                </c:pt>
                <c:pt idx="18">
                  <c:v>54.92</c:v>
                </c:pt>
                <c:pt idx="19">
                  <c:v>42.51</c:v>
                </c:pt>
                <c:pt idx="20">
                  <c:v>40.5</c:v>
                </c:pt>
                <c:pt idx="21">
                  <c:v>38.92</c:v>
                </c:pt>
                <c:pt idx="22">
                  <c:v>35.57</c:v>
                </c:pt>
                <c:pt idx="23">
                  <c:v>32.85</c:v>
                </c:pt>
                <c:pt idx="24">
                  <c:v>35.979999999999997</c:v>
                </c:pt>
                <c:pt idx="25">
                  <c:v>29.43</c:v>
                </c:pt>
                <c:pt idx="26">
                  <c:v>24.82</c:v>
                </c:pt>
                <c:pt idx="27">
                  <c:v>25.18</c:v>
                </c:pt>
                <c:pt idx="28">
                  <c:v>27.7</c:v>
                </c:pt>
                <c:pt idx="29">
                  <c:v>32.54</c:v>
                </c:pt>
                <c:pt idx="30">
                  <c:v>40.69</c:v>
                </c:pt>
                <c:pt idx="31">
                  <c:v>41.85</c:v>
                </c:pt>
                <c:pt idx="32">
                  <c:v>31.83</c:v>
                </c:pt>
                <c:pt idx="33">
                  <c:v>33.880000000000003</c:v>
                </c:pt>
                <c:pt idx="34">
                  <c:v>55.11</c:v>
                </c:pt>
                <c:pt idx="35">
                  <c:v>42.94</c:v>
                </c:pt>
                <c:pt idx="36">
                  <c:v>79.89</c:v>
                </c:pt>
                <c:pt idx="37">
                  <c:v>102.41</c:v>
                </c:pt>
                <c:pt idx="38">
                  <c:v>51.96</c:v>
                </c:pt>
                <c:pt idx="39">
                  <c:v>41.72</c:v>
                </c:pt>
                <c:pt idx="40">
                  <c:v>37.159999999999997</c:v>
                </c:pt>
                <c:pt idx="41">
                  <c:v>36.869999999999997</c:v>
                </c:pt>
                <c:pt idx="42">
                  <c:v>49.29</c:v>
                </c:pt>
                <c:pt idx="43">
                  <c:v>33.68</c:v>
                </c:pt>
                <c:pt idx="44">
                  <c:v>33.25</c:v>
                </c:pt>
                <c:pt idx="45">
                  <c:v>35.89</c:v>
                </c:pt>
                <c:pt idx="46">
                  <c:v>44.88</c:v>
                </c:pt>
                <c:pt idx="47">
                  <c:v>94.69</c:v>
                </c:pt>
                <c:pt idx="48">
                  <c:v>138.28</c:v>
                </c:pt>
                <c:pt idx="49">
                  <c:v>145.24</c:v>
                </c:pt>
                <c:pt idx="50">
                  <c:v>110.06</c:v>
                </c:pt>
                <c:pt idx="51">
                  <c:v>40.28</c:v>
                </c:pt>
                <c:pt idx="52">
                  <c:v>34.83</c:v>
                </c:pt>
                <c:pt idx="53">
                  <c:v>36.520000000000003</c:v>
                </c:pt>
                <c:pt idx="54">
                  <c:v>32.159999999999997</c:v>
                </c:pt>
                <c:pt idx="55">
                  <c:v>29.43</c:v>
                </c:pt>
                <c:pt idx="56">
                  <c:v>35.659999999999997</c:v>
                </c:pt>
                <c:pt idx="57">
                  <c:v>28.45</c:v>
                </c:pt>
                <c:pt idx="58">
                  <c:v>42.57</c:v>
                </c:pt>
                <c:pt idx="59">
                  <c:v>40.799999999999997</c:v>
                </c:pt>
                <c:pt idx="60">
                  <c:v>62.85</c:v>
                </c:pt>
                <c:pt idx="61">
                  <c:v>115.92</c:v>
                </c:pt>
                <c:pt idx="62">
                  <c:v>55.24</c:v>
                </c:pt>
                <c:pt idx="63">
                  <c:v>25.52</c:v>
                </c:pt>
                <c:pt idx="64">
                  <c:v>25.79</c:v>
                </c:pt>
                <c:pt idx="65">
                  <c:v>19.34</c:v>
                </c:pt>
                <c:pt idx="66">
                  <c:v>24.72</c:v>
                </c:pt>
                <c:pt idx="67">
                  <c:v>34.799999999999997</c:v>
                </c:pt>
                <c:pt idx="68">
                  <c:v>33.630000000000003</c:v>
                </c:pt>
                <c:pt idx="69">
                  <c:v>32.369999999999997</c:v>
                </c:pt>
                <c:pt idx="70">
                  <c:v>25.52</c:v>
                </c:pt>
                <c:pt idx="71">
                  <c:v>20.83</c:v>
                </c:pt>
                <c:pt idx="72">
                  <c:v>32.36</c:v>
                </c:pt>
                <c:pt idx="73">
                  <c:v>25.34</c:v>
                </c:pt>
                <c:pt idx="74">
                  <c:v>16.63</c:v>
                </c:pt>
                <c:pt idx="75">
                  <c:v>27.03</c:v>
                </c:pt>
                <c:pt idx="76">
                  <c:v>20.77</c:v>
                </c:pt>
                <c:pt idx="77">
                  <c:v>20.85</c:v>
                </c:pt>
                <c:pt idx="78">
                  <c:v>28.07</c:v>
                </c:pt>
                <c:pt idx="79">
                  <c:v>37.86</c:v>
                </c:pt>
                <c:pt idx="80">
                  <c:v>26.64</c:v>
                </c:pt>
                <c:pt idx="81">
                  <c:v>21.94</c:v>
                </c:pt>
                <c:pt idx="82">
                  <c:v>23.62</c:v>
                </c:pt>
                <c:pt idx="83">
                  <c:v>52</c:v>
                </c:pt>
                <c:pt idx="84">
                  <c:v>35.51</c:v>
                </c:pt>
                <c:pt idx="85">
                  <c:v>27.19</c:v>
                </c:pt>
                <c:pt idx="86">
                  <c:v>31.99</c:v>
                </c:pt>
                <c:pt idx="87">
                  <c:v>29.54</c:v>
                </c:pt>
                <c:pt idx="88">
                  <c:v>18.95</c:v>
                </c:pt>
                <c:pt idx="89">
                  <c:v>22.89</c:v>
                </c:pt>
                <c:pt idx="90">
                  <c:v>25.83</c:v>
                </c:pt>
                <c:pt idx="91">
                  <c:v>23.38</c:v>
                </c:pt>
                <c:pt idx="92">
                  <c:v>28.04</c:v>
                </c:pt>
                <c:pt idx="93">
                  <c:v>27.13</c:v>
                </c:pt>
                <c:pt idx="94">
                  <c:v>31.03</c:v>
                </c:pt>
                <c:pt idx="95">
                  <c:v>74.27</c:v>
                </c:pt>
                <c:pt idx="96">
                  <c:v>95.26</c:v>
                </c:pt>
                <c:pt idx="97">
                  <c:v>35.520000000000003</c:v>
                </c:pt>
                <c:pt idx="98">
                  <c:v>30.22</c:v>
                </c:pt>
                <c:pt idx="99">
                  <c:v>38.35</c:v>
                </c:pt>
                <c:pt idx="100">
                  <c:v>22.32</c:v>
                </c:pt>
                <c:pt idx="101">
                  <c:v>25.31</c:v>
                </c:pt>
                <c:pt idx="102">
                  <c:v>33.22</c:v>
                </c:pt>
                <c:pt idx="103">
                  <c:v>38.57</c:v>
                </c:pt>
                <c:pt idx="104">
                  <c:v>40.520000000000003</c:v>
                </c:pt>
                <c:pt idx="105">
                  <c:v>38.69</c:v>
                </c:pt>
                <c:pt idx="106">
                  <c:v>52.18</c:v>
                </c:pt>
                <c:pt idx="107">
                  <c:v>41.33</c:v>
                </c:pt>
                <c:pt idx="108">
                  <c:v>50.28</c:v>
                </c:pt>
                <c:pt idx="109">
                  <c:v>36.92</c:v>
                </c:pt>
                <c:pt idx="110">
                  <c:v>36.229999999999997</c:v>
                </c:pt>
                <c:pt idx="111">
                  <c:v>26.12</c:v>
                </c:pt>
                <c:pt idx="112">
                  <c:v>22.67</c:v>
                </c:pt>
                <c:pt idx="113">
                  <c:v>22.11</c:v>
                </c:pt>
                <c:pt idx="114">
                  <c:v>28.95</c:v>
                </c:pt>
                <c:pt idx="115">
                  <c:v>23.77</c:v>
                </c:pt>
                <c:pt idx="116">
                  <c:v>20.27</c:v>
                </c:pt>
                <c:pt idx="117">
                  <c:v>20.27</c:v>
                </c:pt>
                <c:pt idx="118">
                  <c:v>33.159999999999997</c:v>
                </c:pt>
                <c:pt idx="119">
                  <c:v>41.38</c:v>
                </c:pt>
                <c:pt idx="120">
                  <c:v>26.18</c:v>
                </c:pt>
                <c:pt idx="121">
                  <c:v>20.34</c:v>
                </c:pt>
                <c:pt idx="122">
                  <c:v>16.739999999999998</c:v>
                </c:pt>
                <c:pt idx="123">
                  <c:v>17.47</c:v>
                </c:pt>
                <c:pt idx="124">
                  <c:v>16.93</c:v>
                </c:pt>
                <c:pt idx="125">
                  <c:v>21.17</c:v>
                </c:pt>
                <c:pt idx="126">
                  <c:v>22.5</c:v>
                </c:pt>
                <c:pt idx="127">
                  <c:v>24.23</c:v>
                </c:pt>
                <c:pt idx="128">
                  <c:v>20.59</c:v>
                </c:pt>
                <c:pt idx="129">
                  <c:v>26.97</c:v>
                </c:pt>
                <c:pt idx="130">
                  <c:v>24.52</c:v>
                </c:pt>
                <c:pt idx="131">
                  <c:v>40.64</c:v>
                </c:pt>
                <c:pt idx="132">
                  <c:v>43.2</c:v>
                </c:pt>
                <c:pt idx="133">
                  <c:v>71.06</c:v>
                </c:pt>
                <c:pt idx="134">
                  <c:v>33.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CDA-4847-AFBC-ACA3B15D9198}"/>
            </c:ext>
          </c:extLst>
        </c:ser>
        <c:ser>
          <c:idx val="2"/>
          <c:order val="1"/>
          <c:tx>
            <c:strRef>
              <c:f>'[Maine Zone LMPs ISO RT markets.xlsx]LMPs'!$C$4:$C$8</c:f>
              <c:strCache>
                <c:ptCount val="5"/>
                <c:pt idx="1">
                  <c:v> Maine </c:v>
                </c:pt>
                <c:pt idx="2">
                  <c:v> wholesale </c:v>
                </c:pt>
                <c:pt idx="3">
                  <c:v> elec price </c:v>
                </c:pt>
                <c:pt idx="4">
                  <c:v> 12-month moving average 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cat>
            <c:numRef>
              <c:f>'[Maine Zone LMPs ISO RT markets.xlsx]LMPs'!$A$9:$A$143</c:f>
              <c:numCache>
                <c:formatCode>mmm\-yy</c:formatCode>
                <c:ptCount val="135"/>
                <c:pt idx="0">
                  <c:v>40179</c:v>
                </c:pt>
                <c:pt idx="1">
                  <c:v>40210</c:v>
                </c:pt>
                <c:pt idx="2">
                  <c:v>40238</c:v>
                </c:pt>
                <c:pt idx="3">
                  <c:v>40269</c:v>
                </c:pt>
                <c:pt idx="4">
                  <c:v>40299</c:v>
                </c:pt>
                <c:pt idx="5">
                  <c:v>40330</c:v>
                </c:pt>
                <c:pt idx="6">
                  <c:v>40360</c:v>
                </c:pt>
                <c:pt idx="7">
                  <c:v>40391</c:v>
                </c:pt>
                <c:pt idx="8">
                  <c:v>40422</c:v>
                </c:pt>
                <c:pt idx="9">
                  <c:v>40452</c:v>
                </c:pt>
                <c:pt idx="10">
                  <c:v>40483</c:v>
                </c:pt>
                <c:pt idx="11">
                  <c:v>40513</c:v>
                </c:pt>
                <c:pt idx="12">
                  <c:v>40544</c:v>
                </c:pt>
                <c:pt idx="13">
                  <c:v>40575</c:v>
                </c:pt>
                <c:pt idx="14">
                  <c:v>40603</c:v>
                </c:pt>
                <c:pt idx="15">
                  <c:v>40634</c:v>
                </c:pt>
                <c:pt idx="16">
                  <c:v>40664</c:v>
                </c:pt>
                <c:pt idx="17">
                  <c:v>40695</c:v>
                </c:pt>
                <c:pt idx="18">
                  <c:v>40725</c:v>
                </c:pt>
                <c:pt idx="19">
                  <c:v>40756</c:v>
                </c:pt>
                <c:pt idx="20">
                  <c:v>40787</c:v>
                </c:pt>
                <c:pt idx="21">
                  <c:v>40817</c:v>
                </c:pt>
                <c:pt idx="22">
                  <c:v>40848</c:v>
                </c:pt>
                <c:pt idx="23">
                  <c:v>40878</c:v>
                </c:pt>
                <c:pt idx="24">
                  <c:v>40909</c:v>
                </c:pt>
                <c:pt idx="25">
                  <c:v>40940</c:v>
                </c:pt>
                <c:pt idx="26">
                  <c:v>40969</c:v>
                </c:pt>
                <c:pt idx="27">
                  <c:v>41000</c:v>
                </c:pt>
                <c:pt idx="28">
                  <c:v>41030</c:v>
                </c:pt>
                <c:pt idx="29">
                  <c:v>41061</c:v>
                </c:pt>
                <c:pt idx="30">
                  <c:v>41091</c:v>
                </c:pt>
                <c:pt idx="31">
                  <c:v>41122</c:v>
                </c:pt>
                <c:pt idx="32">
                  <c:v>41153</c:v>
                </c:pt>
                <c:pt idx="33">
                  <c:v>41183</c:v>
                </c:pt>
                <c:pt idx="34">
                  <c:v>41214</c:v>
                </c:pt>
                <c:pt idx="35">
                  <c:v>41244</c:v>
                </c:pt>
                <c:pt idx="36">
                  <c:v>41275</c:v>
                </c:pt>
                <c:pt idx="37">
                  <c:v>41306</c:v>
                </c:pt>
                <c:pt idx="38">
                  <c:v>41334</c:v>
                </c:pt>
                <c:pt idx="39">
                  <c:v>41365</c:v>
                </c:pt>
                <c:pt idx="40">
                  <c:v>41395</c:v>
                </c:pt>
                <c:pt idx="41">
                  <c:v>41426</c:v>
                </c:pt>
                <c:pt idx="42">
                  <c:v>41456</c:v>
                </c:pt>
                <c:pt idx="43">
                  <c:v>41487</c:v>
                </c:pt>
                <c:pt idx="44">
                  <c:v>41518</c:v>
                </c:pt>
                <c:pt idx="45">
                  <c:v>41548</c:v>
                </c:pt>
                <c:pt idx="46">
                  <c:v>41579</c:v>
                </c:pt>
                <c:pt idx="47">
                  <c:v>41609</c:v>
                </c:pt>
                <c:pt idx="48">
                  <c:v>41640</c:v>
                </c:pt>
                <c:pt idx="49">
                  <c:v>41671</c:v>
                </c:pt>
                <c:pt idx="50">
                  <c:v>41699</c:v>
                </c:pt>
                <c:pt idx="51">
                  <c:v>41730</c:v>
                </c:pt>
                <c:pt idx="52">
                  <c:v>41760</c:v>
                </c:pt>
                <c:pt idx="53">
                  <c:v>41791</c:v>
                </c:pt>
                <c:pt idx="54">
                  <c:v>41821</c:v>
                </c:pt>
                <c:pt idx="55">
                  <c:v>41852</c:v>
                </c:pt>
                <c:pt idx="56">
                  <c:v>41883</c:v>
                </c:pt>
                <c:pt idx="57">
                  <c:v>41913</c:v>
                </c:pt>
                <c:pt idx="58">
                  <c:v>41944</c:v>
                </c:pt>
                <c:pt idx="59">
                  <c:v>41974</c:v>
                </c:pt>
                <c:pt idx="60">
                  <c:v>42005</c:v>
                </c:pt>
                <c:pt idx="61">
                  <c:v>42036</c:v>
                </c:pt>
                <c:pt idx="62">
                  <c:v>42064</c:v>
                </c:pt>
                <c:pt idx="63">
                  <c:v>42095</c:v>
                </c:pt>
                <c:pt idx="64">
                  <c:v>42125</c:v>
                </c:pt>
                <c:pt idx="65">
                  <c:v>42156</c:v>
                </c:pt>
                <c:pt idx="66">
                  <c:v>42186</c:v>
                </c:pt>
                <c:pt idx="67">
                  <c:v>42217</c:v>
                </c:pt>
                <c:pt idx="68">
                  <c:v>42248</c:v>
                </c:pt>
                <c:pt idx="69">
                  <c:v>42278</c:v>
                </c:pt>
                <c:pt idx="70">
                  <c:v>42309</c:v>
                </c:pt>
                <c:pt idx="71">
                  <c:v>42339</c:v>
                </c:pt>
                <c:pt idx="72">
                  <c:v>42370</c:v>
                </c:pt>
                <c:pt idx="73">
                  <c:v>42401</c:v>
                </c:pt>
                <c:pt idx="74">
                  <c:v>42430</c:v>
                </c:pt>
                <c:pt idx="75">
                  <c:v>42461</c:v>
                </c:pt>
                <c:pt idx="76">
                  <c:v>42491</c:v>
                </c:pt>
                <c:pt idx="77">
                  <c:v>42522</c:v>
                </c:pt>
                <c:pt idx="78">
                  <c:v>42552</c:v>
                </c:pt>
                <c:pt idx="79">
                  <c:v>42583</c:v>
                </c:pt>
                <c:pt idx="80">
                  <c:v>42614</c:v>
                </c:pt>
                <c:pt idx="81">
                  <c:v>42644</c:v>
                </c:pt>
                <c:pt idx="82">
                  <c:v>42675</c:v>
                </c:pt>
                <c:pt idx="83">
                  <c:v>42705</c:v>
                </c:pt>
                <c:pt idx="84">
                  <c:v>42736</c:v>
                </c:pt>
                <c:pt idx="85">
                  <c:v>42767</c:v>
                </c:pt>
                <c:pt idx="86">
                  <c:v>42795</c:v>
                </c:pt>
                <c:pt idx="87">
                  <c:v>42826</c:v>
                </c:pt>
                <c:pt idx="88">
                  <c:v>42856</c:v>
                </c:pt>
                <c:pt idx="89">
                  <c:v>42887</c:v>
                </c:pt>
                <c:pt idx="90">
                  <c:v>42917</c:v>
                </c:pt>
                <c:pt idx="91">
                  <c:v>42948</c:v>
                </c:pt>
                <c:pt idx="92">
                  <c:v>42979</c:v>
                </c:pt>
                <c:pt idx="93">
                  <c:v>43009</c:v>
                </c:pt>
                <c:pt idx="94">
                  <c:v>43040</c:v>
                </c:pt>
                <c:pt idx="95">
                  <c:v>43070</c:v>
                </c:pt>
                <c:pt idx="96">
                  <c:v>43101</c:v>
                </c:pt>
                <c:pt idx="97">
                  <c:v>43132</c:v>
                </c:pt>
                <c:pt idx="98">
                  <c:v>43160</c:v>
                </c:pt>
                <c:pt idx="99">
                  <c:v>43191</c:v>
                </c:pt>
                <c:pt idx="100">
                  <c:v>43221</c:v>
                </c:pt>
                <c:pt idx="101">
                  <c:v>43252</c:v>
                </c:pt>
                <c:pt idx="102">
                  <c:v>43282</c:v>
                </c:pt>
                <c:pt idx="103">
                  <c:v>43313</c:v>
                </c:pt>
                <c:pt idx="104">
                  <c:v>43344</c:v>
                </c:pt>
                <c:pt idx="105">
                  <c:v>43374</c:v>
                </c:pt>
                <c:pt idx="106">
                  <c:v>43405</c:v>
                </c:pt>
                <c:pt idx="107">
                  <c:v>43435</c:v>
                </c:pt>
                <c:pt idx="108">
                  <c:v>43466</c:v>
                </c:pt>
                <c:pt idx="109">
                  <c:v>43497</c:v>
                </c:pt>
                <c:pt idx="110">
                  <c:v>43525</c:v>
                </c:pt>
                <c:pt idx="111">
                  <c:v>43556</c:v>
                </c:pt>
                <c:pt idx="112">
                  <c:v>43586</c:v>
                </c:pt>
                <c:pt idx="113">
                  <c:v>43617</c:v>
                </c:pt>
                <c:pt idx="114">
                  <c:v>43647</c:v>
                </c:pt>
                <c:pt idx="115">
                  <c:v>43678</c:v>
                </c:pt>
                <c:pt idx="116">
                  <c:v>43709</c:v>
                </c:pt>
                <c:pt idx="117">
                  <c:v>43739</c:v>
                </c:pt>
                <c:pt idx="118">
                  <c:v>43770</c:v>
                </c:pt>
                <c:pt idx="119">
                  <c:v>43800</c:v>
                </c:pt>
                <c:pt idx="120">
                  <c:v>43831</c:v>
                </c:pt>
                <c:pt idx="121">
                  <c:v>43862</c:v>
                </c:pt>
                <c:pt idx="122">
                  <c:v>43891</c:v>
                </c:pt>
                <c:pt idx="123">
                  <c:v>43922</c:v>
                </c:pt>
                <c:pt idx="124">
                  <c:v>43952</c:v>
                </c:pt>
                <c:pt idx="125">
                  <c:v>43983</c:v>
                </c:pt>
                <c:pt idx="126">
                  <c:v>44013</c:v>
                </c:pt>
                <c:pt idx="127">
                  <c:v>44044</c:v>
                </c:pt>
                <c:pt idx="128">
                  <c:v>44075</c:v>
                </c:pt>
                <c:pt idx="129">
                  <c:v>44105</c:v>
                </c:pt>
                <c:pt idx="130">
                  <c:v>44136</c:v>
                </c:pt>
                <c:pt idx="131">
                  <c:v>44166</c:v>
                </c:pt>
                <c:pt idx="132">
                  <c:v>44197</c:v>
                </c:pt>
                <c:pt idx="133">
                  <c:v>44228</c:v>
                </c:pt>
                <c:pt idx="134">
                  <c:v>44256</c:v>
                </c:pt>
              </c:numCache>
            </c:numRef>
          </c:cat>
          <c:val>
            <c:numRef>
              <c:f>'[Maine Zone LMPs ISO RT markets.xlsx]LMPs'!$C$9:$C$143</c:f>
              <c:numCache>
                <c:formatCode>General</c:formatCode>
                <c:ptCount val="135"/>
                <c:pt idx="7" formatCode="0.00">
                  <c:v>48.097500000000004</c:v>
                </c:pt>
                <c:pt idx="8" formatCode="0.00">
                  <c:v>47.885555555555555</c:v>
                </c:pt>
                <c:pt idx="9" formatCode="0.00">
                  <c:v>46.515000000000001</c:v>
                </c:pt>
                <c:pt idx="10" formatCode="0.00">
                  <c:v>45.922727272727279</c:v>
                </c:pt>
                <c:pt idx="11" formatCode="0.00">
                  <c:v>47.093333333333334</c:v>
                </c:pt>
                <c:pt idx="12" formatCode="0.00">
                  <c:v>47.932499999999997</c:v>
                </c:pt>
                <c:pt idx="13" formatCode="0.00">
                  <c:v>48.43</c:v>
                </c:pt>
                <c:pt idx="14" formatCode="0.00">
                  <c:v>48.99</c:v>
                </c:pt>
                <c:pt idx="15" formatCode="0.00">
                  <c:v>49.733333333333327</c:v>
                </c:pt>
                <c:pt idx="16" formatCode="0.00">
                  <c:v>49.438333333333333</c:v>
                </c:pt>
                <c:pt idx="17" formatCode="0.00">
                  <c:v>48.729166666666664</c:v>
                </c:pt>
                <c:pt idx="18" formatCode="0.00">
                  <c:v>48.584166666666654</c:v>
                </c:pt>
                <c:pt idx="19" formatCode="0.00">
                  <c:v>47.693333333333328</c:v>
                </c:pt>
                <c:pt idx="20" formatCode="0.00">
                  <c:v>47.219166666666666</c:v>
                </c:pt>
                <c:pt idx="21" formatCode="0.00">
                  <c:v>47.614166666666669</c:v>
                </c:pt>
                <c:pt idx="22" formatCode="0.00">
                  <c:v>47.245000000000005</c:v>
                </c:pt>
                <c:pt idx="23" formatCode="0.00">
                  <c:v>44.985000000000007</c:v>
                </c:pt>
                <c:pt idx="24" formatCode="0.00">
                  <c:v>42.130833333333335</c:v>
                </c:pt>
                <c:pt idx="25" formatCode="0.00">
                  <c:v>39.840833333333336</c:v>
                </c:pt>
                <c:pt idx="26" formatCode="0.00">
                  <c:v>38.260833333333338</c:v>
                </c:pt>
                <c:pt idx="27" formatCode="0.00">
                  <c:v>36.850833333333334</c:v>
                </c:pt>
                <c:pt idx="28" formatCode="0.00">
                  <c:v>35.729166666666664</c:v>
                </c:pt>
                <c:pt idx="29" formatCode="0.00">
                  <c:v>35.076666666666668</c:v>
                </c:pt>
                <c:pt idx="30" formatCode="0.00">
                  <c:v>33.890833333333333</c:v>
                </c:pt>
                <c:pt idx="31" formatCode="0.00">
                  <c:v>33.835833333333333</c:v>
                </c:pt>
                <c:pt idx="32" formatCode="0.00">
                  <c:v>33.113333333333337</c:v>
                </c:pt>
                <c:pt idx="33" formatCode="0.00">
                  <c:v>32.693333333333335</c:v>
                </c:pt>
                <c:pt idx="34" formatCode="0.00">
                  <c:v>34.321666666666665</c:v>
                </c:pt>
                <c:pt idx="35" formatCode="0.00">
                  <c:v>35.162500000000001</c:v>
                </c:pt>
                <c:pt idx="36" formatCode="0.00">
                  <c:v>38.821666666666665</c:v>
                </c:pt>
                <c:pt idx="37" formatCode="0.00">
                  <c:v>44.903333333333336</c:v>
                </c:pt>
                <c:pt idx="38" formatCode="0.00">
                  <c:v>47.164999999999999</c:v>
                </c:pt>
                <c:pt idx="39" formatCode="0.00">
                  <c:v>48.543333333333344</c:v>
                </c:pt>
                <c:pt idx="40" formatCode="0.00">
                  <c:v>49.331666666666671</c:v>
                </c:pt>
                <c:pt idx="41" formatCode="0.00">
                  <c:v>49.692499999999995</c:v>
                </c:pt>
                <c:pt idx="42" formatCode="0.00">
                  <c:v>50.409166666666657</c:v>
                </c:pt>
                <c:pt idx="43" formatCode="0.00">
                  <c:v>49.728333333333318</c:v>
                </c:pt>
                <c:pt idx="44" formatCode="0.00">
                  <c:v>49.846666666666657</c:v>
                </c:pt>
                <c:pt idx="45" formatCode="0.00">
                  <c:v>50.014166666666661</c:v>
                </c:pt>
                <c:pt idx="46" formatCode="0.00">
                  <c:v>49.161666666666662</c:v>
                </c:pt>
                <c:pt idx="47" formatCode="0.00">
                  <c:v>53.474166666666669</c:v>
                </c:pt>
                <c:pt idx="48" formatCode="0.00">
                  <c:v>58.339999999999996</c:v>
                </c:pt>
                <c:pt idx="49" formatCode="0.00">
                  <c:v>61.909166666666664</c:v>
                </c:pt>
                <c:pt idx="50" formatCode="0.00">
                  <c:v>66.750833333333333</c:v>
                </c:pt>
                <c:pt idx="51" formatCode="0.00">
                  <c:v>66.630833333333328</c:v>
                </c:pt>
                <c:pt idx="52" formatCode="0.00">
                  <c:v>66.436666666666682</c:v>
                </c:pt>
                <c:pt idx="53" formatCode="0.00">
                  <c:v>66.407499999999999</c:v>
                </c:pt>
                <c:pt idx="54" formatCode="0.00">
                  <c:v>64.98</c:v>
                </c:pt>
                <c:pt idx="55" formatCode="0.00">
                  <c:v>64.625833333333318</c:v>
                </c:pt>
                <c:pt idx="56" formatCode="0.00">
                  <c:v>64.826666666666654</c:v>
                </c:pt>
                <c:pt idx="57" formatCode="0.00">
                  <c:v>64.206666666666663</c:v>
                </c:pt>
                <c:pt idx="58" formatCode="0.00">
                  <c:v>64.014166666666668</c:v>
                </c:pt>
                <c:pt idx="59" formatCode="0.00">
                  <c:v>59.523333333333333</c:v>
                </c:pt>
                <c:pt idx="60" formatCode="0.00">
                  <c:v>53.237500000000004</c:v>
                </c:pt>
                <c:pt idx="61" formatCode="0.00">
                  <c:v>50.794166666666676</c:v>
                </c:pt>
                <c:pt idx="62" formatCode="0.00">
                  <c:v>46.225833333333334</c:v>
                </c:pt>
                <c:pt idx="63" formatCode="0.00">
                  <c:v>44.99583333333333</c:v>
                </c:pt>
                <c:pt idx="64" formatCode="0.00">
                  <c:v>44.2425</c:v>
                </c:pt>
                <c:pt idx="65" formatCode="0.00">
                  <c:v>42.810833333333335</c:v>
                </c:pt>
                <c:pt idx="66" formatCode="0.00">
                  <c:v>42.19083333333333</c:v>
                </c:pt>
                <c:pt idx="67" formatCode="0.00">
                  <c:v>42.638333333333335</c:v>
                </c:pt>
                <c:pt idx="68" formatCode="0.00">
                  <c:v>42.469166666666659</c:v>
                </c:pt>
                <c:pt idx="69" formatCode="0.00">
                  <c:v>42.795833333333327</c:v>
                </c:pt>
                <c:pt idx="70" formatCode="0.00">
                  <c:v>41.374999999999993</c:v>
                </c:pt>
                <c:pt idx="71" formatCode="0.00">
                  <c:v>39.710833333333333</c:v>
                </c:pt>
                <c:pt idx="72" formatCode="0.00">
                  <c:v>37.169999999999995</c:v>
                </c:pt>
                <c:pt idx="73" formatCode="0.00">
                  <c:v>29.621666666666666</c:v>
                </c:pt>
                <c:pt idx="74" formatCode="0.00">
                  <c:v>26.404166666666669</c:v>
                </c:pt>
                <c:pt idx="75" formatCode="0.00">
                  <c:v>26.53</c:v>
                </c:pt>
                <c:pt idx="76" formatCode="0.00">
                  <c:v>26.111666666666668</c:v>
                </c:pt>
                <c:pt idx="77" formatCode="0.00">
                  <c:v>26.237500000000001</c:v>
                </c:pt>
                <c:pt idx="78" formatCode="0.00">
                  <c:v>26.516666666666666</c:v>
                </c:pt>
                <c:pt idx="79" formatCode="0.00">
                  <c:v>26.771666666666665</c:v>
                </c:pt>
                <c:pt idx="80" formatCode="0.00">
                  <c:v>26.189166666666665</c:v>
                </c:pt>
                <c:pt idx="81" formatCode="0.00">
                  <c:v>25.319999999999997</c:v>
                </c:pt>
                <c:pt idx="82" formatCode="0.00">
                  <c:v>25.161666666666665</c:v>
                </c:pt>
                <c:pt idx="83" formatCode="0.00">
                  <c:v>27.759166666666662</c:v>
                </c:pt>
                <c:pt idx="84" formatCode="0.00">
                  <c:v>28.021666666666665</c:v>
                </c:pt>
                <c:pt idx="85" formatCode="0.00">
                  <c:v>28.17583333333333</c:v>
                </c:pt>
                <c:pt idx="86" formatCode="0.00">
                  <c:v>29.455833333333331</c:v>
                </c:pt>
                <c:pt idx="87" formatCode="0.00">
                  <c:v>29.665000000000003</c:v>
                </c:pt>
                <c:pt idx="88" formatCode="0.00">
                  <c:v>29.513333333333335</c:v>
                </c:pt>
                <c:pt idx="89" formatCode="0.00">
                  <c:v>29.683333333333334</c:v>
                </c:pt>
                <c:pt idx="90" formatCode="0.00">
                  <c:v>29.496666666666666</c:v>
                </c:pt>
                <c:pt idx="91" formatCode="0.00">
                  <c:v>28.289999999999996</c:v>
                </c:pt>
                <c:pt idx="92" formatCode="0.00">
                  <c:v>28.406666666666666</c:v>
                </c:pt>
                <c:pt idx="93" formatCode="0.00">
                  <c:v>28.839166666666667</c:v>
                </c:pt>
                <c:pt idx="94" formatCode="0.00">
                  <c:v>29.456666666666667</c:v>
                </c:pt>
                <c:pt idx="95" formatCode="0.00">
                  <c:v>31.3125</c:v>
                </c:pt>
                <c:pt idx="96" formatCode="0.00">
                  <c:v>36.291666666666664</c:v>
                </c:pt>
                <c:pt idx="97" formatCode="0.00">
                  <c:v>36.985833333333325</c:v>
                </c:pt>
                <c:pt idx="98" formatCode="0.00">
                  <c:v>36.838333333333331</c:v>
                </c:pt>
                <c:pt idx="99" formatCode="0.00">
                  <c:v>37.572499999999998</c:v>
                </c:pt>
                <c:pt idx="100" formatCode="0.00">
                  <c:v>37.853333333333332</c:v>
                </c:pt>
                <c:pt idx="101" formatCode="0.00">
                  <c:v>38.055</c:v>
                </c:pt>
                <c:pt idx="102" formatCode="0.00">
                  <c:v>38.670833333333341</c:v>
                </c:pt>
                <c:pt idx="103" formatCode="0.00">
                  <c:v>39.936666666666675</c:v>
                </c:pt>
                <c:pt idx="104" formatCode="0.00">
                  <c:v>40.976666666666667</c:v>
                </c:pt>
                <c:pt idx="105" formatCode="0.00">
                  <c:v>41.94</c:v>
                </c:pt>
                <c:pt idx="106" formatCode="0.00">
                  <c:v>43.702499999999993</c:v>
                </c:pt>
                <c:pt idx="107" formatCode="0.00">
                  <c:v>40.957499999999996</c:v>
                </c:pt>
                <c:pt idx="108" formatCode="0.00">
                  <c:v>37.209166666666668</c:v>
                </c:pt>
                <c:pt idx="109" formatCode="0.00">
                  <c:v>37.325833333333335</c:v>
                </c:pt>
                <c:pt idx="110" formatCode="0.00">
                  <c:v>37.826666666666668</c:v>
                </c:pt>
                <c:pt idx="111" formatCode="0.00">
                  <c:v>36.807499999999997</c:v>
                </c:pt>
                <c:pt idx="112" formatCode="0.00">
                  <c:v>36.836666666666673</c:v>
                </c:pt>
                <c:pt idx="113" formatCode="0.00">
                  <c:v>36.57</c:v>
                </c:pt>
                <c:pt idx="114" formatCode="0.00">
                  <c:v>36.214166666666678</c:v>
                </c:pt>
                <c:pt idx="115" formatCode="0.00">
                  <c:v>34.980833333333337</c:v>
                </c:pt>
                <c:pt idx="116" formatCode="0.00">
                  <c:v>33.293333333333329</c:v>
                </c:pt>
                <c:pt idx="117" formatCode="0.00">
                  <c:v>31.758333333333326</c:v>
                </c:pt>
                <c:pt idx="118" formatCode="0.00">
                  <c:v>30.173333333333328</c:v>
                </c:pt>
                <c:pt idx="119" formatCode="0.00">
                  <c:v>30.177499999999998</c:v>
                </c:pt>
                <c:pt idx="120" formatCode="0.00">
                  <c:v>28.169166666666669</c:v>
                </c:pt>
                <c:pt idx="121" formatCode="0.00">
                  <c:v>26.787499999999998</c:v>
                </c:pt>
                <c:pt idx="122" formatCode="0.00">
                  <c:v>25.16333333333333</c:v>
                </c:pt>
                <c:pt idx="123" formatCode="0.00">
                  <c:v>24.442499999999995</c:v>
                </c:pt>
                <c:pt idx="124" formatCode="0.00">
                  <c:v>23.964166666666667</c:v>
                </c:pt>
                <c:pt idx="125" formatCode="0.00">
                  <c:v>23.885833333333334</c:v>
                </c:pt>
                <c:pt idx="126" formatCode="0.00">
                  <c:v>23.348333333333333</c:v>
                </c:pt>
                <c:pt idx="127" formatCode="0.00">
                  <c:v>23.38666666666667</c:v>
                </c:pt>
                <c:pt idx="128" formatCode="0.00">
                  <c:v>23.413333333333338</c:v>
                </c:pt>
                <c:pt idx="129" formatCode="0.00">
                  <c:v>23.971666666666664</c:v>
                </c:pt>
                <c:pt idx="130" formatCode="0.00">
                  <c:v>23.251666666666665</c:v>
                </c:pt>
                <c:pt idx="131" formatCode="0.00">
                  <c:v>23.189999999999998</c:v>
                </c:pt>
                <c:pt idx="132" formatCode="0.00">
                  <c:v>24.608333333333334</c:v>
                </c:pt>
                <c:pt idx="133" formatCode="0.00">
                  <c:v>28.834999999999997</c:v>
                </c:pt>
                <c:pt idx="134" formatCode="0.00">
                  <c:v>30.1933333333333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CDA-4847-AFBC-ACA3B15D9198}"/>
            </c:ext>
          </c:extLst>
        </c:ser>
        <c:ser>
          <c:idx val="1"/>
          <c:order val="2"/>
          <c:tx>
            <c:strRef>
              <c:f>'[Maine Zone LMPs ISO RT markets.xlsx]LMPs'!$D$7:$D$8</c:f>
              <c:strCache>
                <c:ptCount val="2"/>
                <c:pt idx="0">
                  <c:v>PERC PPA</c:v>
                </c:pt>
                <c:pt idx="1">
                  <c:v> elec price</c:v>
                </c:pt>
              </c:strCache>
            </c:strRef>
          </c:tx>
          <c:spPr>
            <a:ln w="82550">
              <a:solidFill>
                <a:schemeClr val="accent1"/>
              </a:solidFill>
            </a:ln>
          </c:spPr>
          <c:marker>
            <c:symbol val="none"/>
          </c:marker>
          <c:cat>
            <c:numRef>
              <c:f>'[Maine Zone LMPs ISO RT markets.xlsx]LMPs'!$A$9:$A$143</c:f>
              <c:numCache>
                <c:formatCode>mmm\-yy</c:formatCode>
                <c:ptCount val="135"/>
                <c:pt idx="0">
                  <c:v>40179</c:v>
                </c:pt>
                <c:pt idx="1">
                  <c:v>40210</c:v>
                </c:pt>
                <c:pt idx="2">
                  <c:v>40238</c:v>
                </c:pt>
                <c:pt idx="3">
                  <c:v>40269</c:v>
                </c:pt>
                <c:pt idx="4">
                  <c:v>40299</c:v>
                </c:pt>
                <c:pt idx="5">
                  <c:v>40330</c:v>
                </c:pt>
                <c:pt idx="6">
                  <c:v>40360</c:v>
                </c:pt>
                <c:pt idx="7">
                  <c:v>40391</c:v>
                </c:pt>
                <c:pt idx="8">
                  <c:v>40422</c:v>
                </c:pt>
                <c:pt idx="9">
                  <c:v>40452</c:v>
                </c:pt>
                <c:pt idx="10">
                  <c:v>40483</c:v>
                </c:pt>
                <c:pt idx="11">
                  <c:v>40513</c:v>
                </c:pt>
                <c:pt idx="12">
                  <c:v>40544</c:v>
                </c:pt>
                <c:pt idx="13">
                  <c:v>40575</c:v>
                </c:pt>
                <c:pt idx="14">
                  <c:v>40603</c:v>
                </c:pt>
                <c:pt idx="15">
                  <c:v>40634</c:v>
                </c:pt>
                <c:pt idx="16">
                  <c:v>40664</c:v>
                </c:pt>
                <c:pt idx="17">
                  <c:v>40695</c:v>
                </c:pt>
                <c:pt idx="18">
                  <c:v>40725</c:v>
                </c:pt>
                <c:pt idx="19">
                  <c:v>40756</c:v>
                </c:pt>
                <c:pt idx="20">
                  <c:v>40787</c:v>
                </c:pt>
                <c:pt idx="21">
                  <c:v>40817</c:v>
                </c:pt>
                <c:pt idx="22">
                  <c:v>40848</c:v>
                </c:pt>
                <c:pt idx="23">
                  <c:v>40878</c:v>
                </c:pt>
                <c:pt idx="24">
                  <c:v>40909</c:v>
                </c:pt>
                <c:pt idx="25">
                  <c:v>40940</c:v>
                </c:pt>
                <c:pt idx="26">
                  <c:v>40969</c:v>
                </c:pt>
                <c:pt idx="27">
                  <c:v>41000</c:v>
                </c:pt>
                <c:pt idx="28">
                  <c:v>41030</c:v>
                </c:pt>
                <c:pt idx="29">
                  <c:v>41061</c:v>
                </c:pt>
                <c:pt idx="30">
                  <c:v>41091</c:v>
                </c:pt>
                <c:pt idx="31">
                  <c:v>41122</c:v>
                </c:pt>
                <c:pt idx="32">
                  <c:v>41153</c:v>
                </c:pt>
                <c:pt idx="33">
                  <c:v>41183</c:v>
                </c:pt>
                <c:pt idx="34">
                  <c:v>41214</c:v>
                </c:pt>
                <c:pt idx="35">
                  <c:v>41244</c:v>
                </c:pt>
                <c:pt idx="36">
                  <c:v>41275</c:v>
                </c:pt>
                <c:pt idx="37">
                  <c:v>41306</c:v>
                </c:pt>
                <c:pt idx="38">
                  <c:v>41334</c:v>
                </c:pt>
                <c:pt idx="39">
                  <c:v>41365</c:v>
                </c:pt>
                <c:pt idx="40">
                  <c:v>41395</c:v>
                </c:pt>
                <c:pt idx="41">
                  <c:v>41426</c:v>
                </c:pt>
                <c:pt idx="42">
                  <c:v>41456</c:v>
                </c:pt>
                <c:pt idx="43">
                  <c:v>41487</c:v>
                </c:pt>
                <c:pt idx="44">
                  <c:v>41518</c:v>
                </c:pt>
                <c:pt idx="45">
                  <c:v>41548</c:v>
                </c:pt>
                <c:pt idx="46">
                  <c:v>41579</c:v>
                </c:pt>
                <c:pt idx="47">
                  <c:v>41609</c:v>
                </c:pt>
                <c:pt idx="48">
                  <c:v>41640</c:v>
                </c:pt>
                <c:pt idx="49">
                  <c:v>41671</c:v>
                </c:pt>
                <c:pt idx="50">
                  <c:v>41699</c:v>
                </c:pt>
                <c:pt idx="51">
                  <c:v>41730</c:v>
                </c:pt>
                <c:pt idx="52">
                  <c:v>41760</c:v>
                </c:pt>
                <c:pt idx="53">
                  <c:v>41791</c:v>
                </c:pt>
                <c:pt idx="54">
                  <c:v>41821</c:v>
                </c:pt>
                <c:pt idx="55">
                  <c:v>41852</c:v>
                </c:pt>
                <c:pt idx="56">
                  <c:v>41883</c:v>
                </c:pt>
                <c:pt idx="57">
                  <c:v>41913</c:v>
                </c:pt>
                <c:pt idx="58">
                  <c:v>41944</c:v>
                </c:pt>
                <c:pt idx="59">
                  <c:v>41974</c:v>
                </c:pt>
                <c:pt idx="60">
                  <c:v>42005</c:v>
                </c:pt>
                <c:pt idx="61">
                  <c:v>42036</c:v>
                </c:pt>
                <c:pt idx="62">
                  <c:v>42064</c:v>
                </c:pt>
                <c:pt idx="63">
                  <c:v>42095</c:v>
                </c:pt>
                <c:pt idx="64">
                  <c:v>42125</c:v>
                </c:pt>
                <c:pt idx="65">
                  <c:v>42156</c:v>
                </c:pt>
                <c:pt idx="66">
                  <c:v>42186</c:v>
                </c:pt>
                <c:pt idx="67">
                  <c:v>42217</c:v>
                </c:pt>
                <c:pt idx="68">
                  <c:v>42248</c:v>
                </c:pt>
                <c:pt idx="69">
                  <c:v>42278</c:v>
                </c:pt>
                <c:pt idx="70">
                  <c:v>42309</c:v>
                </c:pt>
                <c:pt idx="71">
                  <c:v>42339</c:v>
                </c:pt>
                <c:pt idx="72">
                  <c:v>42370</c:v>
                </c:pt>
                <c:pt idx="73">
                  <c:v>42401</c:v>
                </c:pt>
                <c:pt idx="74">
                  <c:v>42430</c:v>
                </c:pt>
                <c:pt idx="75">
                  <c:v>42461</c:v>
                </c:pt>
                <c:pt idx="76">
                  <c:v>42491</c:v>
                </c:pt>
                <c:pt idx="77">
                  <c:v>42522</c:v>
                </c:pt>
                <c:pt idx="78">
                  <c:v>42552</c:v>
                </c:pt>
                <c:pt idx="79">
                  <c:v>42583</c:v>
                </c:pt>
                <c:pt idx="80">
                  <c:v>42614</c:v>
                </c:pt>
                <c:pt idx="81">
                  <c:v>42644</c:v>
                </c:pt>
                <c:pt idx="82">
                  <c:v>42675</c:v>
                </c:pt>
                <c:pt idx="83">
                  <c:v>42705</c:v>
                </c:pt>
                <c:pt idx="84">
                  <c:v>42736</c:v>
                </c:pt>
                <c:pt idx="85">
                  <c:v>42767</c:v>
                </c:pt>
                <c:pt idx="86">
                  <c:v>42795</c:v>
                </c:pt>
                <c:pt idx="87">
                  <c:v>42826</c:v>
                </c:pt>
                <c:pt idx="88">
                  <c:v>42856</c:v>
                </c:pt>
                <c:pt idx="89">
                  <c:v>42887</c:v>
                </c:pt>
                <c:pt idx="90">
                  <c:v>42917</c:v>
                </c:pt>
                <c:pt idx="91">
                  <c:v>42948</c:v>
                </c:pt>
                <c:pt idx="92">
                  <c:v>42979</c:v>
                </c:pt>
                <c:pt idx="93">
                  <c:v>43009</c:v>
                </c:pt>
                <c:pt idx="94">
                  <c:v>43040</c:v>
                </c:pt>
                <c:pt idx="95">
                  <c:v>43070</c:v>
                </c:pt>
                <c:pt idx="96">
                  <c:v>43101</c:v>
                </c:pt>
                <c:pt idx="97">
                  <c:v>43132</c:v>
                </c:pt>
                <c:pt idx="98">
                  <c:v>43160</c:v>
                </c:pt>
                <c:pt idx="99">
                  <c:v>43191</c:v>
                </c:pt>
                <c:pt idx="100">
                  <c:v>43221</c:v>
                </c:pt>
                <c:pt idx="101">
                  <c:v>43252</c:v>
                </c:pt>
                <c:pt idx="102">
                  <c:v>43282</c:v>
                </c:pt>
                <c:pt idx="103">
                  <c:v>43313</c:v>
                </c:pt>
                <c:pt idx="104">
                  <c:v>43344</c:v>
                </c:pt>
                <c:pt idx="105">
                  <c:v>43374</c:v>
                </c:pt>
                <c:pt idx="106">
                  <c:v>43405</c:v>
                </c:pt>
                <c:pt idx="107">
                  <c:v>43435</c:v>
                </c:pt>
                <c:pt idx="108">
                  <c:v>43466</c:v>
                </c:pt>
                <c:pt idx="109">
                  <c:v>43497</c:v>
                </c:pt>
                <c:pt idx="110">
                  <c:v>43525</c:v>
                </c:pt>
                <c:pt idx="111">
                  <c:v>43556</c:v>
                </c:pt>
                <c:pt idx="112">
                  <c:v>43586</c:v>
                </c:pt>
                <c:pt idx="113">
                  <c:v>43617</c:v>
                </c:pt>
                <c:pt idx="114">
                  <c:v>43647</c:v>
                </c:pt>
                <c:pt idx="115">
                  <c:v>43678</c:v>
                </c:pt>
                <c:pt idx="116">
                  <c:v>43709</c:v>
                </c:pt>
                <c:pt idx="117">
                  <c:v>43739</c:v>
                </c:pt>
                <c:pt idx="118">
                  <c:v>43770</c:v>
                </c:pt>
                <c:pt idx="119">
                  <c:v>43800</c:v>
                </c:pt>
                <c:pt idx="120">
                  <c:v>43831</c:v>
                </c:pt>
                <c:pt idx="121">
                  <c:v>43862</c:v>
                </c:pt>
                <c:pt idx="122">
                  <c:v>43891</c:v>
                </c:pt>
                <c:pt idx="123">
                  <c:v>43922</c:v>
                </c:pt>
                <c:pt idx="124">
                  <c:v>43952</c:v>
                </c:pt>
                <c:pt idx="125">
                  <c:v>43983</c:v>
                </c:pt>
                <c:pt idx="126">
                  <c:v>44013</c:v>
                </c:pt>
                <c:pt idx="127">
                  <c:v>44044</c:v>
                </c:pt>
                <c:pt idx="128">
                  <c:v>44075</c:v>
                </c:pt>
                <c:pt idx="129">
                  <c:v>44105</c:v>
                </c:pt>
                <c:pt idx="130">
                  <c:v>44136</c:v>
                </c:pt>
                <c:pt idx="131">
                  <c:v>44166</c:v>
                </c:pt>
                <c:pt idx="132">
                  <c:v>44197</c:v>
                </c:pt>
                <c:pt idx="133">
                  <c:v>44228</c:v>
                </c:pt>
                <c:pt idx="134">
                  <c:v>44256</c:v>
                </c:pt>
              </c:numCache>
            </c:numRef>
          </c:cat>
          <c:val>
            <c:numRef>
              <c:f>'[Maine Zone LMPs ISO RT markets.xlsx]LMPs'!$D$9:$D$143</c:f>
              <c:numCache>
                <c:formatCode>General</c:formatCode>
                <c:ptCount val="135"/>
                <c:pt idx="0">
                  <c:v>136.69</c:v>
                </c:pt>
                <c:pt idx="1">
                  <c:v>136.69</c:v>
                </c:pt>
                <c:pt idx="2">
                  <c:v>136.69</c:v>
                </c:pt>
                <c:pt idx="3">
                  <c:v>136.69</c:v>
                </c:pt>
                <c:pt idx="4">
                  <c:v>140.41999999999999</c:v>
                </c:pt>
                <c:pt idx="5">
                  <c:v>140.41999999999999</c:v>
                </c:pt>
                <c:pt idx="6">
                  <c:v>140.41999999999999</c:v>
                </c:pt>
                <c:pt idx="7">
                  <c:v>140.41999999999999</c:v>
                </c:pt>
                <c:pt idx="8">
                  <c:v>140.41999999999999</c:v>
                </c:pt>
                <c:pt idx="9">
                  <c:v>140.41999999999999</c:v>
                </c:pt>
                <c:pt idx="10">
                  <c:v>140.41999999999999</c:v>
                </c:pt>
                <c:pt idx="11">
                  <c:v>140.41999999999999</c:v>
                </c:pt>
                <c:pt idx="12">
                  <c:v>140.41999999999999</c:v>
                </c:pt>
                <c:pt idx="13">
                  <c:v>140.41999999999999</c:v>
                </c:pt>
                <c:pt idx="14">
                  <c:v>140.41999999999999</c:v>
                </c:pt>
                <c:pt idx="15">
                  <c:v>140.41999999999999</c:v>
                </c:pt>
                <c:pt idx="16">
                  <c:v>143.81700000000001</c:v>
                </c:pt>
                <c:pt idx="17">
                  <c:v>143.81700000000001</c:v>
                </c:pt>
                <c:pt idx="18">
                  <c:v>143.81700000000001</c:v>
                </c:pt>
                <c:pt idx="19">
                  <c:v>143.81700000000001</c:v>
                </c:pt>
                <c:pt idx="20">
                  <c:v>143.81700000000001</c:v>
                </c:pt>
                <c:pt idx="21">
                  <c:v>143.81700000000001</c:v>
                </c:pt>
                <c:pt idx="22">
                  <c:v>143.81700000000001</c:v>
                </c:pt>
                <c:pt idx="23">
                  <c:v>143.81700000000001</c:v>
                </c:pt>
                <c:pt idx="24">
                  <c:v>143.81700000000001</c:v>
                </c:pt>
                <c:pt idx="25">
                  <c:v>143.81700000000001</c:v>
                </c:pt>
                <c:pt idx="26">
                  <c:v>143.81700000000001</c:v>
                </c:pt>
                <c:pt idx="27">
                  <c:v>143.81700000000001</c:v>
                </c:pt>
                <c:pt idx="28">
                  <c:v>149.33000000000001</c:v>
                </c:pt>
                <c:pt idx="29">
                  <c:v>149.33000000000001</c:v>
                </c:pt>
                <c:pt idx="30">
                  <c:v>149.33000000000001</c:v>
                </c:pt>
                <c:pt idx="31">
                  <c:v>149.33000000000001</c:v>
                </c:pt>
                <c:pt idx="32">
                  <c:v>149.33000000000001</c:v>
                </c:pt>
                <c:pt idx="33">
                  <c:v>149.33000000000001</c:v>
                </c:pt>
                <c:pt idx="34">
                  <c:v>149.33000000000001</c:v>
                </c:pt>
                <c:pt idx="35">
                  <c:v>149.33000000000001</c:v>
                </c:pt>
                <c:pt idx="36">
                  <c:v>149.33000000000001</c:v>
                </c:pt>
                <c:pt idx="37">
                  <c:v>149.33000000000001</c:v>
                </c:pt>
                <c:pt idx="38">
                  <c:v>149.33000000000001</c:v>
                </c:pt>
                <c:pt idx="39">
                  <c:v>149.33000000000001</c:v>
                </c:pt>
                <c:pt idx="40">
                  <c:v>154.25</c:v>
                </c:pt>
                <c:pt idx="41">
                  <c:v>154.25</c:v>
                </c:pt>
                <c:pt idx="42">
                  <c:v>154.25</c:v>
                </c:pt>
                <c:pt idx="43">
                  <c:v>154.25</c:v>
                </c:pt>
                <c:pt idx="44">
                  <c:v>154.25</c:v>
                </c:pt>
                <c:pt idx="45">
                  <c:v>154.25</c:v>
                </c:pt>
                <c:pt idx="46">
                  <c:v>154.25</c:v>
                </c:pt>
                <c:pt idx="47">
                  <c:v>154.25</c:v>
                </c:pt>
                <c:pt idx="48">
                  <c:v>154.25</c:v>
                </c:pt>
                <c:pt idx="49">
                  <c:v>154.25</c:v>
                </c:pt>
                <c:pt idx="50">
                  <c:v>154.25</c:v>
                </c:pt>
                <c:pt idx="51">
                  <c:v>158.63</c:v>
                </c:pt>
                <c:pt idx="52">
                  <c:v>158.63</c:v>
                </c:pt>
                <c:pt idx="53">
                  <c:v>158.63</c:v>
                </c:pt>
                <c:pt idx="54">
                  <c:v>158.63</c:v>
                </c:pt>
                <c:pt idx="55">
                  <c:v>158.63</c:v>
                </c:pt>
                <c:pt idx="56">
                  <c:v>158.63</c:v>
                </c:pt>
                <c:pt idx="57">
                  <c:v>158.63</c:v>
                </c:pt>
                <c:pt idx="58">
                  <c:v>158.63</c:v>
                </c:pt>
                <c:pt idx="59">
                  <c:v>158.63</c:v>
                </c:pt>
                <c:pt idx="60">
                  <c:v>158.63</c:v>
                </c:pt>
                <c:pt idx="61">
                  <c:v>158.63</c:v>
                </c:pt>
                <c:pt idx="62">
                  <c:v>158.63</c:v>
                </c:pt>
                <c:pt idx="63">
                  <c:v>163.63</c:v>
                </c:pt>
                <c:pt idx="64">
                  <c:v>163.63</c:v>
                </c:pt>
                <c:pt idx="65">
                  <c:v>163.63</c:v>
                </c:pt>
                <c:pt idx="66">
                  <c:v>163.63</c:v>
                </c:pt>
                <c:pt idx="67">
                  <c:v>163.63</c:v>
                </c:pt>
                <c:pt idx="68">
                  <c:v>163.63</c:v>
                </c:pt>
                <c:pt idx="69">
                  <c:v>163.63</c:v>
                </c:pt>
                <c:pt idx="70">
                  <c:v>163.63</c:v>
                </c:pt>
                <c:pt idx="71">
                  <c:v>163.63</c:v>
                </c:pt>
                <c:pt idx="72">
                  <c:v>163.63</c:v>
                </c:pt>
                <c:pt idx="73">
                  <c:v>163.63</c:v>
                </c:pt>
                <c:pt idx="74">
                  <c:v>163.63</c:v>
                </c:pt>
                <c:pt idx="75" formatCode="0.00">
                  <c:v>168.48699999999999</c:v>
                </c:pt>
                <c:pt idx="76" formatCode="0.00">
                  <c:v>168.48699999999999</c:v>
                </c:pt>
                <c:pt idx="77" formatCode="0.00">
                  <c:v>168.48699999999999</c:v>
                </c:pt>
                <c:pt idx="78" formatCode="0.00">
                  <c:v>168.48699999999999</c:v>
                </c:pt>
                <c:pt idx="79" formatCode="0.00">
                  <c:v>168.48699999999999</c:v>
                </c:pt>
                <c:pt idx="80" formatCode="0.00">
                  <c:v>168.48699999999999</c:v>
                </c:pt>
                <c:pt idx="81" formatCode="0.00">
                  <c:v>168.48699999999999</c:v>
                </c:pt>
                <c:pt idx="82" formatCode="0.00">
                  <c:v>168.48699999999999</c:v>
                </c:pt>
                <c:pt idx="83" formatCode="0.00">
                  <c:v>168.48699999999999</c:v>
                </c:pt>
                <c:pt idx="84" formatCode="0.00">
                  <c:v>172.95</c:v>
                </c:pt>
                <c:pt idx="85" formatCode="0.00">
                  <c:v>172.95</c:v>
                </c:pt>
                <c:pt idx="86" formatCode="0.00">
                  <c:v>172.95</c:v>
                </c:pt>
                <c:pt idx="87" formatCode="0.00">
                  <c:v>172.95</c:v>
                </c:pt>
                <c:pt idx="88" formatCode="0.00">
                  <c:v>172.95</c:v>
                </c:pt>
                <c:pt idx="89" formatCode="0.00">
                  <c:v>172.95</c:v>
                </c:pt>
                <c:pt idx="90" formatCode="0.00">
                  <c:v>172.95</c:v>
                </c:pt>
                <c:pt idx="91" formatCode="0.00">
                  <c:v>172.95</c:v>
                </c:pt>
                <c:pt idx="92" formatCode="0.00">
                  <c:v>172.95</c:v>
                </c:pt>
                <c:pt idx="93" formatCode="0.00">
                  <c:v>172.95</c:v>
                </c:pt>
                <c:pt idx="94" formatCode="0.00">
                  <c:v>172.95</c:v>
                </c:pt>
                <c:pt idx="95" formatCode="0.00">
                  <c:v>172.95</c:v>
                </c:pt>
                <c:pt idx="96" formatCode="0.00">
                  <c:v>177.41299999999998</c:v>
                </c:pt>
                <c:pt idx="97" formatCode="0.00">
                  <c:v>177.412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CDA-4847-AFBC-ACA3B15D91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9617792"/>
        <c:axId val="139619328"/>
      </c:lineChart>
      <c:dateAx>
        <c:axId val="13961779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139619328"/>
        <c:crosses val="autoZero"/>
        <c:auto val="1"/>
        <c:lblOffset val="100"/>
        <c:baseTimeUnit val="months"/>
      </c:dateAx>
      <c:valAx>
        <c:axId val="139619328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ISO-NE Maine Zone LMP, $/MWh</a:t>
                </a:r>
              </a:p>
            </c:rich>
          </c:tx>
          <c:overlay val="0"/>
        </c:title>
        <c:numFmt formatCode="_(* #,##0.00_);_(* \(#,##0.00\);_(* &quot;-&quot;??_);_(@_)" sourceLinked="1"/>
        <c:majorTickMark val="out"/>
        <c:minorTickMark val="none"/>
        <c:tickLblPos val="nextTo"/>
        <c:crossAx val="13961779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FDADAA31-1FF9-4808-A1B0-2D1DFB414E15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2956E9B3-5BA3-491B-B2CD-0B0F85672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606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56E9B3-5BA3-491B-B2CD-0B0F85672C4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6972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56E9B3-5BA3-491B-B2CD-0B0F85672C4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2715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56E9B3-5BA3-491B-B2CD-0B0F85672C4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8226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56E9B3-5BA3-491B-B2CD-0B0F85672C4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4127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56E9B3-5BA3-491B-B2CD-0B0F85672C4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0526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56E9B3-5BA3-491B-B2CD-0B0F85672C4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8078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56E9B3-5BA3-491B-B2CD-0B0F85672C4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3818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56E9B3-5BA3-491B-B2CD-0B0F85672C4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288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56E9B3-5BA3-491B-B2CD-0B0F85672C4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8434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56E9B3-5BA3-491B-B2CD-0B0F85672C4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2726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56E9B3-5BA3-491B-B2CD-0B0F85672C4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2612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56E9B3-5BA3-491B-B2CD-0B0F85672C4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9063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56E9B3-5BA3-491B-B2CD-0B0F85672C4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52144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56E9B3-5BA3-491B-B2CD-0B0F85672C4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92974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56E9B3-5BA3-491B-B2CD-0B0F85672C4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0527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56E9B3-5BA3-491B-B2CD-0B0F85672C4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1667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6EE5C4-91E7-44D7-B7DF-A119A83120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6EC6A6E-8372-4AB8-B9CE-8CC47DDC95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F6E990-A98C-4C2A-ABE7-D4CE74EBD3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#</a:t>
            </a:r>
            <a:r>
              <a:rPr lang="en-US" dirty="0" err="1"/>
              <a:t>WasteExpo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F7F459-D42D-4284-BAE4-EF1DAA1CF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4CA570-F862-4233-BEB1-F99E482130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A78E4-8B97-40B5-9511-5FA2CB4DD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6105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B921B-1673-4C0D-818E-D40E18CA7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2C89420-2029-42B3-826E-5C8B636A19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8C91C3-04D4-4390-AA41-A0C7F0406D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8DFF0-499B-46FA-B2BF-B00879CD707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DA9286-922D-44E6-A5E0-F134C717A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32C38E-E004-46E9-92DB-577B1DFCD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A78E4-8B97-40B5-9511-5FA2CB4DD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1297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6259B5D-B485-4B6D-9357-A6DD9ED991B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79A815-FAA9-4712-8C49-AF2722824F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5425F1-C139-4A8F-BA39-AD04CA315A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8DFF0-499B-46FA-B2BF-B00879CD707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D3D324-31EB-4D2B-9E03-4E5F1CC69A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55A6-EE7C-4B8C-88B4-4E0CD016B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A78E4-8B97-40B5-9511-5FA2CB4DD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2873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913A5E6E-B307-48A2-B981-0D3A06411D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6063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913A5E6E-B307-48A2-B981-0D3A06411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26">
            <a:extLst>
              <a:ext uri="{FF2B5EF4-FFF2-40B4-BE49-F238E27FC236}">
                <a16:creationId xmlns:a16="http://schemas.microsoft.com/office/drawing/2014/main" id="{17B448D6-B256-4F48-AC96-15AC6F310C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" y="0"/>
            <a:ext cx="12190963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CF7ACBE-CEA1-4433-961D-F743E4D282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713331C-F7DE-49E0-A5E3-1DE748DBF10D}"/>
              </a:ext>
            </a:extLst>
          </p:cNvPr>
          <p:cNvSpPr/>
          <p:nvPr userDrawn="1"/>
        </p:nvSpPr>
        <p:spPr>
          <a:xfrm>
            <a:off x="1" y="-29716"/>
            <a:ext cx="12191999" cy="6858000"/>
          </a:xfrm>
          <a:prstGeom prst="rect">
            <a:avLst/>
          </a:prstGeom>
          <a:gradFill>
            <a:gsLst>
              <a:gs pos="0">
                <a:srgbClr val="0080A2"/>
              </a:gs>
              <a:gs pos="31000">
                <a:srgbClr val="1C1C1C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B1A720-D723-497A-9E2A-229F57A1C1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006475"/>
          </a:xfrm>
        </p:spPr>
        <p:txBody>
          <a:bodyPr vert="horz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F0B2AB-B67D-482D-B557-673EA4A06B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647372"/>
            <a:ext cx="10972800" cy="4486727"/>
          </a:xfrm>
        </p:spPr>
        <p:txBody>
          <a:bodyPr/>
          <a:lstStyle>
            <a:lvl1pPr>
              <a:buFontTx/>
              <a:buNone/>
              <a:defRPr>
                <a:solidFill>
                  <a:schemeClr val="bg1"/>
                </a:solidFill>
              </a:defRPr>
            </a:lvl1pPr>
            <a:lvl2pPr>
              <a:buFontTx/>
              <a:buNone/>
              <a:defRPr>
                <a:solidFill>
                  <a:schemeClr val="bg1"/>
                </a:solidFill>
              </a:defRPr>
            </a:lvl2pPr>
            <a:lvl3pPr>
              <a:buFontTx/>
              <a:buNone/>
              <a:defRPr>
                <a:solidFill>
                  <a:schemeClr val="bg1"/>
                </a:solidFill>
              </a:defRPr>
            </a:lvl3pPr>
            <a:lvl4pPr>
              <a:buFontTx/>
              <a:buNone/>
              <a:defRPr>
                <a:solidFill>
                  <a:schemeClr val="bg1"/>
                </a:solidFill>
              </a:defRPr>
            </a:lvl4pPr>
            <a:lvl5pPr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D5D90B-5BCA-41B3-B061-1A8333F1D6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1" y="6356350"/>
            <a:ext cx="4114800" cy="365125"/>
          </a:xfrm>
        </p:spPr>
        <p:txBody>
          <a:bodyPr/>
          <a:lstStyle>
            <a:lvl1pPr algn="l">
              <a:defRPr sz="1600" b="1" i="0">
                <a:solidFill>
                  <a:schemeClr val="bg1"/>
                </a:solidFill>
                <a:latin typeface="Source Sans Pro Black" panose="020B0503030403020204" pitchFamily="34" charset="0"/>
                <a:ea typeface="Source Sans Pro Black" panose="020B0503030403020204" pitchFamily="34" charset="0"/>
              </a:defRPr>
            </a:lvl1pPr>
          </a:lstStyle>
          <a:p>
            <a:r>
              <a:rPr lang="en-US" dirty="0"/>
              <a:t>#</a:t>
            </a:r>
            <a:r>
              <a:rPr lang="en-US" dirty="0" err="1"/>
              <a:t>WasteExpo</a:t>
            </a:r>
            <a:endParaRPr lang="en-US" sz="16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046049C-EC0E-8F4C-A7E1-376234CD484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95052" y="5857875"/>
            <a:ext cx="890587" cy="890587"/>
          </a:xfrm>
          <a:prstGeom prst="rect">
            <a:avLst/>
          </a:prstGeom>
        </p:spPr>
      </p:pic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CCC76964-EC93-F547-9F2B-9B330590587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7473" y="5963789"/>
            <a:ext cx="597953" cy="678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89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6D81CF-832F-4532-816B-8CA0A3D96E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C06AC1-45C7-4F2A-BC02-C75F955D57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F55E15-F659-4424-8123-6644AF085F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8DFF0-499B-46FA-B2BF-B00879CD707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29EDC2-EC03-49E5-8472-D679FE9051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552ADE-9012-48D7-AD67-5C91788D7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A78E4-8B97-40B5-9511-5FA2CB4DD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1358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0CD11F-DD72-47A4-A08C-2AF43FCD0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528A83-2592-4B59-8CF7-0A55A92576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D5F953A-0D83-476B-B2EE-682A71C9DF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21C6A90-18EA-4145-A13C-0734A3C930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8DFF0-499B-46FA-B2BF-B00879CD707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878BFE-48A6-41C4-9B84-EAB3889E0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810960-0D79-4F70-AA43-2E96582625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A78E4-8B97-40B5-9511-5FA2CB4DD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8472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2229B9-E97C-4FB1-847A-7608E4BCE8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4BD1A9-DCD5-4180-9104-B23222B902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A7C14-AB76-4C2B-8B7F-252CB3A5E4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D0C1B2-41CA-4061-99F8-EC7F639F12C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02C2A2D-A541-4B66-BD19-54D424AA39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202985D-B010-4E5C-A1DB-46BBD9539A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8DFF0-499B-46FA-B2BF-B00879CD707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1938B20-E571-45FC-B008-167D4A7BCD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3819211-6999-4E20-95E9-3B0F990A0E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A78E4-8B97-40B5-9511-5FA2CB4DD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2302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9A2D61-8699-4459-911F-03694384D9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43CF5D-5B16-4421-810C-F4CC57CD18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8DFF0-499B-46FA-B2BF-B00879CD707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020B98-6F8F-42D9-8A23-D07E18CB47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F2BBF3-28A5-4A38-ADB6-627D1FADA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A78E4-8B97-40B5-9511-5FA2CB4DD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0622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82B4AE8-0059-416C-86D7-0EB5261859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8DFF0-499B-46FA-B2BF-B00879CD707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8C9DD99-44B6-464A-8525-18BB0630B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4BDB3C-66A3-4E2F-88A1-644D476DA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A78E4-8B97-40B5-9511-5FA2CB4DD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2515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B98E6C-8BDA-419A-8A3D-DD8C45E1AB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58AA1C-B03C-4997-877B-24E64325ED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AEB4B6-5734-4992-BDF3-45AB94FC56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2B73C7-31A5-44BE-B18A-74DEB2F140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8DFF0-499B-46FA-B2BF-B00879CD707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86C9AC-D186-4123-B5AE-BFBFF8E49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984F67-BEB2-4EAA-9E91-F87C5A217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A78E4-8B97-40B5-9511-5FA2CB4DD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0815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257D7-7D81-47F3-BA8A-D43FF0AAA9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105D519-F0AC-4780-97E6-7911E5485E7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4783B6-B760-45FD-A2C0-4CD76C3360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9BA6BC-6EE3-4639-90D7-2BD772C660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8DFF0-499B-46FA-B2BF-B00879CD707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9790AB-96B9-4093-AC58-1BC9389D0A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E7EA53-E49B-44BF-B5FF-DDA2549D3C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A78E4-8B97-40B5-9511-5FA2CB4DD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2941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B27F1DE-4D0F-4DA3-ABBD-56C4729C7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69833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3" imgH="384" progId="TCLayout.ActiveDocument.1">
                  <p:embed/>
                </p:oleObj>
              </mc:Choice>
              <mc:Fallback>
                <p:oleObj name="think-cell Slide" r:id="rId14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B27F1DE-4D0F-4DA3-ABBD-56C4729C7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3B578C2-F2A4-4DC7-BAD2-33C145307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9FDB6-4A10-41A8-844A-1C96048008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4F3785-6B6A-4A37-A794-21A49BFC40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08DFF0-499B-46FA-B2BF-B00879CD707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36109B-3B5D-49CF-8DC3-2D5D60EB8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5A4932-AFC4-4009-9F13-18E1EADF99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4A78E4-8B97-40B5-9511-5FA2CB4DDB3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-1348403003,&quot;Placement&quot;:&quot;Footer&quot;}">
            <a:extLst>
              <a:ext uri="{FF2B5EF4-FFF2-40B4-BE49-F238E27FC236}">
                <a16:creationId xmlns:a16="http://schemas.microsoft.com/office/drawing/2014/main" id="{1EFDCFE0-DC38-4967-B028-385E499B3012}"/>
              </a:ext>
            </a:extLst>
          </p:cNvPr>
          <p:cNvSpPr txBox="1"/>
          <p:nvPr userDrawn="1"/>
        </p:nvSpPr>
        <p:spPr>
          <a:xfrm>
            <a:off x="0" y="6618048"/>
            <a:ext cx="2130404" cy="23995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0078D7"/>
                </a:solidFill>
                <a:latin typeface="Rockwell" panose="02060603020205020403" pitchFamily="18" charset="0"/>
              </a:rPr>
              <a:t>Information Classification: General</a:t>
            </a:r>
          </a:p>
        </p:txBody>
      </p:sp>
    </p:spTree>
    <p:extLst>
      <p:ext uri="{BB962C8B-B14F-4D97-AF65-F5344CB8AC3E}">
        <p14:creationId xmlns:p14="http://schemas.microsoft.com/office/powerpoint/2010/main" val="518032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7312" userDrawn="1">
          <p15:clr>
            <a:srgbClr val="F26B43"/>
          </p15:clr>
        </p15:guide>
        <p15:guide id="3" pos="368" userDrawn="1">
          <p15:clr>
            <a:srgbClr val="F26B43"/>
          </p15:clr>
        </p15:guide>
        <p15:guide id="4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notesSlide" Target="../notesSlides/notesSlide1.xml"/><Relationship Id="rId7" Type="http://schemas.microsoft.com/office/2007/relationships/hdphoto" Target="../media/hdphoto1.wdp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11" Type="http://schemas.openxmlformats.org/officeDocument/2006/relationships/image" Target="../media/image7.jpeg"/><Relationship Id="rId5" Type="http://schemas.openxmlformats.org/officeDocument/2006/relationships/image" Target="../media/image1.emf"/><Relationship Id="rId10" Type="http://schemas.openxmlformats.org/officeDocument/2006/relationships/image" Target="../media/image6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24.jpe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0.png"/><Relationship Id="rId12" Type="http://schemas.openxmlformats.org/officeDocument/2006/relationships/image" Target="../media/image2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9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26.jpe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0.png"/><Relationship Id="rId12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9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28.jpe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0.png"/><Relationship Id="rId12" Type="http://schemas.openxmlformats.org/officeDocument/2006/relationships/image" Target="../media/image2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9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30.jpe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0.png"/><Relationship Id="rId12" Type="http://schemas.openxmlformats.org/officeDocument/2006/relationships/image" Target="../media/image2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9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9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9.png"/><Relationship Id="rId11" Type="http://schemas.openxmlformats.org/officeDocument/2006/relationships/hyperlink" Target="mailto:garonson@crmcx.com" TargetMode="External"/><Relationship Id="rId5" Type="http://schemas.openxmlformats.org/officeDocument/2006/relationships/image" Target="../media/image1.emf"/><Relationship Id="rId10" Type="http://schemas.openxmlformats.org/officeDocument/2006/relationships/image" Target="../media/image31.jpe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png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11" Type="http://schemas.openxmlformats.org/officeDocument/2006/relationships/image" Target="../media/image7.jpe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5.bin"/><Relationship Id="rId9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0.png"/><Relationship Id="rId12" Type="http://schemas.openxmlformats.org/officeDocument/2006/relationships/image" Target="../media/image12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png"/><Relationship Id="rId12" Type="http://schemas.openxmlformats.org/officeDocument/2006/relationships/image" Target="../media/image13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9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14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0.png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9.bin"/><Relationship Id="rId9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0.png"/><Relationship Id="rId12" Type="http://schemas.openxmlformats.org/officeDocument/2006/relationships/image" Target="../media/image1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9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0.png"/><Relationship Id="rId12" Type="http://schemas.openxmlformats.org/officeDocument/2006/relationships/image" Target="../media/image1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18.jpe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0.png"/><Relationship Id="rId12" Type="http://schemas.openxmlformats.org/officeDocument/2006/relationships/image" Target="../media/image17.jpeg"/><Relationship Id="rId17" Type="http://schemas.openxmlformats.org/officeDocument/2006/relationships/image" Target="../media/image2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1.jpeg"/><Relationship Id="rId1" Type="http://schemas.openxmlformats.org/officeDocument/2006/relationships/tags" Target="../tags/tag12.xml"/><Relationship Id="rId6" Type="http://schemas.openxmlformats.org/officeDocument/2006/relationships/image" Target="../media/image9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5" Type="http://schemas.openxmlformats.org/officeDocument/2006/relationships/image" Target="../media/image20.jpeg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.png"/><Relationship Id="rId14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68000">
              <a:schemeClr val="accent2">
                <a:lumMod val="95000"/>
                <a:lumOff val="5000"/>
              </a:schemeClr>
            </a:gs>
            <a:gs pos="100000">
              <a:schemeClr val="bg1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6418AB1-9637-4F16-844B-67F12440CA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6418AB1-9637-4F16-844B-67F12440CA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Text&#10;&#10;Description automatically generated">
            <a:extLst>
              <a:ext uri="{FF2B5EF4-FFF2-40B4-BE49-F238E27FC236}">
                <a16:creationId xmlns:a16="http://schemas.microsoft.com/office/drawing/2014/main" id="{88633CD2-B96C-6745-914C-5437920666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48000"/>
                    </a14:imgEffect>
                    <a14:imgEffect>
                      <a14:brightnessContrast contrast="3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71" y="2419218"/>
            <a:ext cx="2037029" cy="9012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B3839BF-6014-544A-A25B-E79679D007B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292" y="232664"/>
            <a:ext cx="2076108" cy="2076108"/>
          </a:xfrm>
          <a:prstGeom prst="rect">
            <a:avLst/>
          </a:prstGeom>
        </p:spPr>
      </p:pic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254153EF-9761-BC4F-BC33-0B21129C668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796" y="502307"/>
            <a:ext cx="1300180" cy="1475880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08A85F81-7D4E-45BA-B9AE-1679D3CE587E}"/>
              </a:ext>
            </a:extLst>
          </p:cNvPr>
          <p:cNvSpPr txBox="1">
            <a:spLocks/>
          </p:cNvSpPr>
          <p:nvPr/>
        </p:nvSpPr>
        <p:spPr>
          <a:xfrm>
            <a:off x="3009316" y="1839074"/>
            <a:ext cx="8439356" cy="338019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1200"/>
              </a:spcAft>
            </a:pPr>
            <a:r>
              <a:rPr lang="en-US" sz="4000" b="1" dirty="0" err="1">
                <a:solidFill>
                  <a:schemeClr val="bg1"/>
                </a:solidFill>
                <a:highlight>
                  <a:srgbClr val="000000"/>
                </a:highlight>
                <a:latin typeface="Source Sans Pro" panose="020B0503030403020204" pitchFamily="34" charset="0"/>
                <a:ea typeface="Source Sans Pro" panose="020B0503030403020204" pitchFamily="34" charset="0"/>
                <a:cs typeface="Segoe UI" panose="020B0502040204020203" pitchFamily="34" charset="0"/>
              </a:rPr>
              <a:t>WasteExpo</a:t>
            </a:r>
            <a:r>
              <a:rPr lang="en-US" sz="4000" b="1" dirty="0">
                <a:solidFill>
                  <a:schemeClr val="bg1"/>
                </a:solidFill>
                <a:highlight>
                  <a:srgbClr val="000000"/>
                </a:highlight>
                <a:latin typeface="Source Sans Pro" panose="020B0503030403020204" pitchFamily="34" charset="0"/>
                <a:ea typeface="Source Sans Pro" panose="020B0503030403020204" pitchFamily="34" charset="0"/>
                <a:cs typeface="Segoe UI" panose="020B0502040204020203" pitchFamily="34" charset="0"/>
              </a:rPr>
              <a:t> 2021 </a:t>
            </a:r>
            <a:r>
              <a:rPr lang="en-US" sz="3200" b="1" dirty="0">
                <a:solidFill>
                  <a:schemeClr val="bg1"/>
                </a:solidFill>
                <a:highlight>
                  <a:srgbClr val="000000"/>
                </a:highlight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Session W413</a:t>
            </a:r>
          </a:p>
          <a:p>
            <a:pPr>
              <a:spcAft>
                <a:spcPts val="1200"/>
              </a:spcAft>
            </a:pPr>
            <a:r>
              <a:rPr lang="en-US" sz="2000" b="1" dirty="0" err="1">
                <a:solidFill>
                  <a:schemeClr val="bg1"/>
                </a:solidFill>
                <a:highlight>
                  <a:srgbClr val="000000"/>
                </a:highlight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Wednesday,June</a:t>
            </a:r>
            <a:r>
              <a:rPr lang="en-US" sz="2000" b="1" dirty="0">
                <a:solidFill>
                  <a:schemeClr val="bg1"/>
                </a:solidFill>
                <a:highlight>
                  <a:srgbClr val="000000"/>
                </a:highlight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 30, 1:30 pm to 2:45 pm </a:t>
            </a:r>
          </a:p>
          <a:p>
            <a:r>
              <a:rPr lang="en-US" sz="4000" b="1" dirty="0">
                <a:solidFill>
                  <a:schemeClr val="bg1"/>
                </a:solidFill>
                <a:highlight>
                  <a:srgbClr val="000000"/>
                </a:highlight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What’s </a:t>
            </a:r>
            <a:r>
              <a:rPr lang="en-US" sz="4400" b="1" dirty="0">
                <a:solidFill>
                  <a:schemeClr val="bg1"/>
                </a:solidFill>
                <a:highlight>
                  <a:srgbClr val="000000"/>
                </a:highlight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New with Mixed Waste?</a:t>
            </a:r>
          </a:p>
          <a:p>
            <a:r>
              <a:rPr lang="en-US" sz="4400" b="1" dirty="0">
                <a:solidFill>
                  <a:schemeClr val="bg1"/>
                </a:solidFill>
                <a:highlight>
                  <a:srgbClr val="000000"/>
                </a:highlight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The MRC and the Coastal Hampden Facility</a:t>
            </a:r>
          </a:p>
          <a:p>
            <a:endParaRPr lang="en-US" sz="3200" b="1" dirty="0">
              <a:solidFill>
                <a:schemeClr val="bg1"/>
              </a:solidFill>
              <a:highlight>
                <a:srgbClr val="000000"/>
              </a:highlight>
              <a:latin typeface="Source Sans Pro Semibold" panose="020B0503030403020204" pitchFamily="34" charset="0"/>
              <a:ea typeface="Source Sans Pro Semibold" panose="020B0503030403020204" pitchFamily="34" charset="0"/>
              <a:cs typeface="Segoe UI" panose="020B0502040204020203" pitchFamily="34" charset="0"/>
            </a:endParaRPr>
          </a:p>
          <a:p>
            <a:r>
              <a:rPr lang="en-US" sz="3200" b="1" dirty="0">
                <a:solidFill>
                  <a:schemeClr val="bg1"/>
                </a:solidFill>
                <a:highlight>
                  <a:srgbClr val="000000"/>
                </a:highlight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George Aronson </a:t>
            </a:r>
          </a:p>
          <a:p>
            <a:r>
              <a:rPr lang="en-US" sz="3200" b="1" dirty="0">
                <a:solidFill>
                  <a:schemeClr val="bg1"/>
                </a:solidFill>
                <a:highlight>
                  <a:srgbClr val="000000"/>
                </a:highlight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Principal, CRMC</a:t>
            </a:r>
          </a:p>
        </p:txBody>
      </p:sp>
      <p:pic>
        <p:nvPicPr>
          <p:cNvPr id="5" name="Picture 4" descr="A picture containing ceiling, indoor, several&#10;&#10;Description automatically generated">
            <a:extLst>
              <a:ext uri="{FF2B5EF4-FFF2-40B4-BE49-F238E27FC236}">
                <a16:creationId xmlns:a16="http://schemas.microsoft.com/office/drawing/2014/main" id="{FD436CD3-1B78-47EE-8631-2331152E64C2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954" y="502307"/>
            <a:ext cx="9092629" cy="584712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E9CFB79-2687-4697-8451-5D432A76D0A8}"/>
              </a:ext>
            </a:extLst>
          </p:cNvPr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371" y="3628902"/>
            <a:ext cx="1952378" cy="10563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id="{9F8F5A52-2F4B-4EE5-91BC-601BFA233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696" y="4971177"/>
            <a:ext cx="1877575" cy="68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869399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146373-2842-4822-8B1F-AC3475550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146373-2842-4822-8B1F-AC3475550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0FF785E5-A270-4098-8825-22A9F96BA3E7}"/>
              </a:ext>
            </a:extLst>
          </p:cNvPr>
          <p:cNvGrpSpPr/>
          <p:nvPr/>
        </p:nvGrpSpPr>
        <p:grpSpPr>
          <a:xfrm>
            <a:off x="347778" y="3536079"/>
            <a:ext cx="5923478" cy="1778000"/>
            <a:chOff x="-393700" y="3581400"/>
            <a:chExt cx="7188200" cy="177800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050B0A-D937-47B6-8605-15D10ABBD765}"/>
                </a:ext>
              </a:extLst>
            </p:cNvPr>
            <p:cNvCxnSpPr/>
            <p:nvPr/>
          </p:nvCxnSpPr>
          <p:spPr>
            <a:xfrm flipH="1">
              <a:off x="-393700" y="3581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FFC7CE0-EE24-4A7E-94BF-F896D00615B8}"/>
                </a:ext>
              </a:extLst>
            </p:cNvPr>
            <p:cNvCxnSpPr/>
            <p:nvPr/>
          </p:nvCxnSpPr>
          <p:spPr>
            <a:xfrm flipH="1">
              <a:off x="-393700" y="4470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80A1D8-F78E-48FF-8106-F117B5116E12}"/>
                </a:ext>
              </a:extLst>
            </p:cNvPr>
            <p:cNvCxnSpPr/>
            <p:nvPr/>
          </p:nvCxnSpPr>
          <p:spPr>
            <a:xfrm flipH="1">
              <a:off x="-393700" y="5359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D34E8B0-2954-4BDA-83A6-3AAA94B05AEA}"/>
              </a:ext>
            </a:extLst>
          </p:cNvPr>
          <p:cNvSpPr/>
          <p:nvPr/>
        </p:nvSpPr>
        <p:spPr>
          <a:xfrm>
            <a:off x="758867" y="1112666"/>
            <a:ext cx="533713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3200" b="1" dirty="0">
                <a:solidFill>
                  <a:srgbClr val="3F3F3F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Operating challenges</a:t>
            </a:r>
            <a:endParaRPr lang="en-US" sz="3200" b="1" dirty="0">
              <a:solidFill>
                <a:srgbClr val="3F3F3F"/>
              </a:solidFill>
              <a:effectLst/>
              <a:latin typeface="Source Sans Pro Semibold" panose="020B0503030403020204" pitchFamily="34" charset="0"/>
              <a:ea typeface="Source Sans Pro Semibold" panose="020B05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46" name="Picture 45" descr="A close up of a sign&#10;&#10;Description automatically generated">
            <a:extLst>
              <a:ext uri="{FF2B5EF4-FFF2-40B4-BE49-F238E27FC236}">
                <a16:creationId xmlns:a16="http://schemas.microsoft.com/office/drawing/2014/main" id="{0289F9E7-101A-3448-B42C-915F2E6F5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15" y="6363671"/>
            <a:ext cx="1285240" cy="352657"/>
          </a:xfrm>
          <a:prstGeom prst="rect">
            <a:avLst/>
          </a:prstGeom>
        </p:spPr>
      </p:pic>
      <p:pic>
        <p:nvPicPr>
          <p:cNvPr id="47" name="Picture 46" descr="Logo&#10;&#10;Description automatically generated">
            <a:extLst>
              <a:ext uri="{FF2B5EF4-FFF2-40B4-BE49-F238E27FC236}">
                <a16:creationId xmlns:a16="http://schemas.microsoft.com/office/drawing/2014/main" id="{2637C50F-37BB-1146-BCD7-EF92E7105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" y="6317252"/>
            <a:ext cx="1091015" cy="44549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7804CC71-5DCD-474C-8A5C-DF578BCFA07F}"/>
              </a:ext>
            </a:extLst>
          </p:cNvPr>
          <p:cNvSpPr txBox="1"/>
          <p:nvPr/>
        </p:nvSpPr>
        <p:spPr>
          <a:xfrm>
            <a:off x="9690776" y="6319048"/>
            <a:ext cx="1403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#</a:t>
            </a:r>
            <a:r>
              <a:rPr lang="en-US" b="1" dirty="0" err="1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WasteExpo</a:t>
            </a:r>
            <a:endParaRPr lang="en-US" b="1" dirty="0">
              <a:solidFill>
                <a:schemeClr val="bg1"/>
              </a:solidFill>
              <a:latin typeface="Source Sans Pro Semibold" panose="020B0503030403020204" pitchFamily="34" charset="0"/>
              <a:ea typeface="Source Sans Pro Semibold" panose="020B0503030403020204" pitchFamily="34" charset="0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2C257B8-45FB-504C-8839-2139CE760F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5052" y="5857875"/>
            <a:ext cx="890587" cy="890587"/>
          </a:xfrm>
          <a:prstGeom prst="rect">
            <a:avLst/>
          </a:prstGeom>
        </p:spPr>
      </p:pic>
      <p:pic>
        <p:nvPicPr>
          <p:cNvPr id="66" name="Picture 65" descr="Logo&#10;&#10;Description automatically generated">
            <a:extLst>
              <a:ext uri="{FF2B5EF4-FFF2-40B4-BE49-F238E27FC236}">
                <a16:creationId xmlns:a16="http://schemas.microsoft.com/office/drawing/2014/main" id="{BD7B630F-A9F6-4B43-A14E-ED25E5AB54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7473" y="5963789"/>
            <a:ext cx="597953" cy="678757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E3B9971-F1D5-4509-B708-3DD4B3C96FC8}"/>
              </a:ext>
            </a:extLst>
          </p:cNvPr>
          <p:cNvSpPr txBox="1"/>
          <p:nvPr/>
        </p:nvSpPr>
        <p:spPr>
          <a:xfrm>
            <a:off x="347778" y="2203609"/>
            <a:ext cx="7067347" cy="31085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Tanglers, tarps, </a:t>
            </a:r>
            <a:r>
              <a:rPr lang="en-US" altLang="en-US" sz="2800" kern="0" dirty="0" err="1">
                <a:latin typeface="Times New Roman" pitchFamily="18" charset="0"/>
                <a:cs typeface="Times New Roman" pitchFamily="18" charset="0"/>
              </a:rPr>
              <a:t>bulkies</a:t>
            </a: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 and </a:t>
            </a:r>
            <a:r>
              <a:rPr lang="en-US" altLang="en-US" sz="2800" dirty="0">
                <a:latin typeface="Times New Roman" pitchFamily="18" charset="0"/>
                <a:cs typeface="Times New Roman" pitchFamily="18" charset="0"/>
              </a:rPr>
              <a:t>bottlenecks</a:t>
            </a:r>
          </a:p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800" dirty="0">
                <a:latin typeface="Times New Roman" pitchFamily="18" charset="0"/>
                <a:cs typeface="Times New Roman" pitchFamily="18" charset="0"/>
              </a:rPr>
              <a:t>Control of fugitive materials</a:t>
            </a:r>
          </a:p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800" dirty="0">
                <a:latin typeface="Times New Roman" pitchFamily="18" charset="0"/>
                <a:cs typeface="Times New Roman" pitchFamily="18" charset="0"/>
              </a:rPr>
              <a:t>Efficient recovery of all film plastics</a:t>
            </a:r>
          </a:p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800" dirty="0">
                <a:latin typeface="Times New Roman" pitchFamily="18" charset="0"/>
                <a:cs typeface="Times New Roman" pitchFamily="18" charset="0"/>
              </a:rPr>
              <a:t>Back end could not keep up with front end</a:t>
            </a:r>
          </a:p>
          <a:p>
            <a:pPr marL="914400" lvl="1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800" dirty="0">
                <a:latin typeface="Times New Roman" pitchFamily="18" charset="0"/>
                <a:cs typeface="Times New Roman" pitchFamily="18" charset="0"/>
              </a:rPr>
              <a:t>Plastic and moisture in the pulper feed</a:t>
            </a:r>
          </a:p>
          <a:p>
            <a:pPr marL="914400" lvl="1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800" dirty="0">
                <a:latin typeface="Times New Roman" pitchFamily="18" charset="0"/>
                <a:cs typeface="Times New Roman" pitchFamily="18" charset="0"/>
              </a:rPr>
              <a:t>Material became residuals rather than produc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3FFD18-0055-4EBE-994B-9C8B5BC1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9" y="318501"/>
            <a:ext cx="6194044" cy="658208"/>
          </a:xfrm>
        </p:spPr>
        <p:txBody>
          <a:bodyPr>
            <a:noAutofit/>
          </a:bodyPr>
          <a:lstStyle/>
          <a:p>
            <a:r>
              <a:rPr lang="en-US" sz="2800" dirty="0"/>
              <a:t>The MRC and the Coastal Hampden Facilit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DDA3284-FBFE-4823-93E0-9F2D4F3D70FD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602" y="6199579"/>
            <a:ext cx="1403943" cy="5631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66631EA6-CBD9-4D77-9B67-27943E003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272" y="6058578"/>
            <a:ext cx="1877575" cy="68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 Box 16">
            <a:extLst>
              <a:ext uri="{FF2B5EF4-FFF2-40B4-BE49-F238E27FC236}">
                <a16:creationId xmlns:a16="http://schemas.microsoft.com/office/drawing/2014/main" id="{877B78F5-1624-4BB6-9302-87BDD9AAB3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9642" y="109538"/>
            <a:ext cx="311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100000"/>
              <a:buFont typeface="Symbol" pitchFamily="18" charset="2"/>
              <a:buChar char="·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65000"/>
              <a:buFont typeface="Monotype Sorts"/>
              <a:buChar char="l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674AFE03-12EF-4E92-A201-0451FAB8529C}" type="slidenum">
              <a:rPr lang="en-US" altLang="en-US" sz="1800"/>
              <a:pPr>
                <a:spcBef>
                  <a:spcPct val="0"/>
                </a:spcBef>
                <a:buSzTx/>
                <a:buFontTx/>
                <a:buNone/>
              </a:pPr>
              <a:t>10</a:t>
            </a:fld>
            <a:endParaRPr lang="en-US" altLang="en-US" sz="2400" dirty="0"/>
          </a:p>
        </p:txBody>
      </p:sp>
      <p:pic>
        <p:nvPicPr>
          <p:cNvPr id="19" name="Picture 18" descr="A picture containing green, sitting, oven, small&#10;&#10;Description automatically generated">
            <a:extLst>
              <a:ext uri="{FF2B5EF4-FFF2-40B4-BE49-F238E27FC236}">
                <a16:creationId xmlns:a16="http://schemas.microsoft.com/office/drawing/2014/main" id="{C3A6687C-E795-4CB1-BD06-88A2637C0D69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" t="7198" r="47323" b="36033"/>
          <a:stretch/>
        </p:blipFill>
        <p:spPr>
          <a:xfrm rot="5400000">
            <a:off x="7586443" y="2895244"/>
            <a:ext cx="3566160" cy="3450391"/>
          </a:xfrm>
          <a:prstGeom prst="rect">
            <a:avLst/>
          </a:prstGeom>
        </p:spPr>
      </p:pic>
      <p:pic>
        <p:nvPicPr>
          <p:cNvPr id="20" name="Picture 19" descr="A pile of hay&#10;&#10;Description automatically generated">
            <a:extLst>
              <a:ext uri="{FF2B5EF4-FFF2-40B4-BE49-F238E27FC236}">
                <a16:creationId xmlns:a16="http://schemas.microsoft.com/office/drawing/2014/main" id="{9F120AC4-B36C-4851-850C-EF49D77CEA2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0319" y="556369"/>
            <a:ext cx="3454400" cy="2097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9974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146373-2842-4822-8B1F-AC3475550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146373-2842-4822-8B1F-AC3475550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0FF785E5-A270-4098-8825-22A9F96BA3E7}"/>
              </a:ext>
            </a:extLst>
          </p:cNvPr>
          <p:cNvGrpSpPr/>
          <p:nvPr/>
        </p:nvGrpSpPr>
        <p:grpSpPr>
          <a:xfrm>
            <a:off x="347778" y="3536079"/>
            <a:ext cx="5923478" cy="1778000"/>
            <a:chOff x="-393700" y="3581400"/>
            <a:chExt cx="7188200" cy="177800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050B0A-D937-47B6-8605-15D10ABBD765}"/>
                </a:ext>
              </a:extLst>
            </p:cNvPr>
            <p:cNvCxnSpPr/>
            <p:nvPr/>
          </p:nvCxnSpPr>
          <p:spPr>
            <a:xfrm flipH="1">
              <a:off x="-393700" y="3581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FFC7CE0-EE24-4A7E-94BF-F896D00615B8}"/>
                </a:ext>
              </a:extLst>
            </p:cNvPr>
            <p:cNvCxnSpPr/>
            <p:nvPr/>
          </p:nvCxnSpPr>
          <p:spPr>
            <a:xfrm flipH="1">
              <a:off x="-393700" y="4470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80A1D8-F78E-48FF-8106-F117B5116E12}"/>
                </a:ext>
              </a:extLst>
            </p:cNvPr>
            <p:cNvCxnSpPr/>
            <p:nvPr/>
          </p:nvCxnSpPr>
          <p:spPr>
            <a:xfrm flipH="1">
              <a:off x="-393700" y="5359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D34E8B0-2954-4BDA-83A6-3AAA94B05AEA}"/>
              </a:ext>
            </a:extLst>
          </p:cNvPr>
          <p:cNvSpPr/>
          <p:nvPr/>
        </p:nvSpPr>
        <p:spPr>
          <a:xfrm>
            <a:off x="758867" y="1112666"/>
            <a:ext cx="5337133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3200" b="1" dirty="0">
                <a:solidFill>
                  <a:srgbClr val="3F3F3F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Maine Beneficial Use Licensing for pulp and briquettes</a:t>
            </a:r>
            <a:endParaRPr lang="en-US" sz="3200" b="1" dirty="0">
              <a:solidFill>
                <a:srgbClr val="3F3F3F"/>
              </a:solidFill>
              <a:effectLst/>
              <a:latin typeface="Source Sans Pro Semibold" panose="020B0503030403020204" pitchFamily="34" charset="0"/>
              <a:ea typeface="Source Sans Pro Semibold" panose="020B05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46" name="Picture 45" descr="A close up of a sign&#10;&#10;Description automatically generated">
            <a:extLst>
              <a:ext uri="{FF2B5EF4-FFF2-40B4-BE49-F238E27FC236}">
                <a16:creationId xmlns:a16="http://schemas.microsoft.com/office/drawing/2014/main" id="{0289F9E7-101A-3448-B42C-915F2E6F5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15" y="6363671"/>
            <a:ext cx="1285240" cy="352657"/>
          </a:xfrm>
          <a:prstGeom prst="rect">
            <a:avLst/>
          </a:prstGeom>
        </p:spPr>
      </p:pic>
      <p:pic>
        <p:nvPicPr>
          <p:cNvPr id="47" name="Picture 46" descr="Logo&#10;&#10;Description automatically generated">
            <a:extLst>
              <a:ext uri="{FF2B5EF4-FFF2-40B4-BE49-F238E27FC236}">
                <a16:creationId xmlns:a16="http://schemas.microsoft.com/office/drawing/2014/main" id="{2637C50F-37BB-1146-BCD7-EF92E7105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" y="6317252"/>
            <a:ext cx="1091015" cy="44549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7804CC71-5DCD-474C-8A5C-DF578BCFA07F}"/>
              </a:ext>
            </a:extLst>
          </p:cNvPr>
          <p:cNvSpPr txBox="1"/>
          <p:nvPr/>
        </p:nvSpPr>
        <p:spPr>
          <a:xfrm>
            <a:off x="9690776" y="6319048"/>
            <a:ext cx="1403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#</a:t>
            </a:r>
            <a:r>
              <a:rPr lang="en-US" b="1" dirty="0" err="1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WasteExpo</a:t>
            </a:r>
            <a:endParaRPr lang="en-US" b="1" dirty="0">
              <a:solidFill>
                <a:schemeClr val="bg1"/>
              </a:solidFill>
              <a:latin typeface="Source Sans Pro Semibold" panose="020B0503030403020204" pitchFamily="34" charset="0"/>
              <a:ea typeface="Source Sans Pro Semibold" panose="020B0503030403020204" pitchFamily="34" charset="0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2C257B8-45FB-504C-8839-2139CE760F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5052" y="5857875"/>
            <a:ext cx="890587" cy="890587"/>
          </a:xfrm>
          <a:prstGeom prst="rect">
            <a:avLst/>
          </a:prstGeom>
        </p:spPr>
      </p:pic>
      <p:pic>
        <p:nvPicPr>
          <p:cNvPr id="66" name="Picture 65" descr="Logo&#10;&#10;Description automatically generated">
            <a:extLst>
              <a:ext uri="{FF2B5EF4-FFF2-40B4-BE49-F238E27FC236}">
                <a16:creationId xmlns:a16="http://schemas.microsoft.com/office/drawing/2014/main" id="{BD7B630F-A9F6-4B43-A14E-ED25E5AB54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7473" y="5963789"/>
            <a:ext cx="597953" cy="67875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23FFD18-0055-4EBE-994B-9C8B5BC1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9" y="318501"/>
            <a:ext cx="6194044" cy="658208"/>
          </a:xfrm>
        </p:spPr>
        <p:txBody>
          <a:bodyPr>
            <a:noAutofit/>
          </a:bodyPr>
          <a:lstStyle/>
          <a:p>
            <a:r>
              <a:rPr lang="en-US" sz="2800" dirty="0"/>
              <a:t>The MRC and the Coastal Hampden Facilit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DDA3284-FBFE-4823-93E0-9F2D4F3D70FD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602" y="6199579"/>
            <a:ext cx="1403943" cy="5631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66631EA6-CBD9-4D77-9B67-27943E003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272" y="6058578"/>
            <a:ext cx="1877575" cy="68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 Box 16">
            <a:extLst>
              <a:ext uri="{FF2B5EF4-FFF2-40B4-BE49-F238E27FC236}">
                <a16:creationId xmlns:a16="http://schemas.microsoft.com/office/drawing/2014/main" id="{877B78F5-1624-4BB6-9302-87BDD9AAB3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9642" y="109538"/>
            <a:ext cx="311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100000"/>
              <a:buFont typeface="Symbol" pitchFamily="18" charset="2"/>
              <a:buChar char="·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65000"/>
              <a:buFont typeface="Monotype Sorts"/>
              <a:buChar char="l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674AFE03-12EF-4E92-A201-0451FAB8529C}" type="slidenum">
              <a:rPr lang="en-US" altLang="en-US" sz="1800"/>
              <a:pPr>
                <a:spcBef>
                  <a:spcPct val="0"/>
                </a:spcBef>
                <a:buSzTx/>
                <a:buFontTx/>
                <a:buNone/>
              </a:pPr>
              <a:t>11</a:t>
            </a:fld>
            <a:endParaRPr lang="en-US" altLang="en-US" sz="24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12AE18D-9584-4BC8-971C-BA66B0C6DA14}"/>
              </a:ext>
            </a:extLst>
          </p:cNvPr>
          <p:cNvSpPr txBox="1"/>
          <p:nvPr/>
        </p:nvSpPr>
        <p:spPr>
          <a:xfrm>
            <a:off x="658819" y="2205904"/>
            <a:ext cx="6438028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Applied to Maine DEP June 2019, license issued May 2020</a:t>
            </a:r>
            <a:endParaRPr lang="en-US" altLang="en-US" sz="2800" dirty="0">
              <a:latin typeface="Times New Roman" pitchFamily="18" charset="0"/>
              <a:cs typeface="Times New Roman" pitchFamily="18" charset="0"/>
            </a:endParaRPr>
          </a:p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800" dirty="0">
                <a:latin typeface="Times New Roman" pitchFamily="18" charset="0"/>
                <a:cs typeface="Times New Roman" pitchFamily="18" charset="0"/>
              </a:rPr>
              <a:t>License issues:  zero waste vs. zero risk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altLang="en-US" sz="2800" dirty="0">
                <a:latin typeface="Times New Roman" pitchFamily="18" charset="0"/>
                <a:cs typeface="Times New Roman" pitchFamily="18" charset="0"/>
              </a:rPr>
              <a:t>Sampling and analysis work plan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altLang="en-US" sz="2800" dirty="0">
                <a:latin typeface="Times New Roman" pitchFamily="18" charset="0"/>
                <a:cs typeface="Times New Roman" pitchFamily="18" charset="0"/>
              </a:rPr>
              <a:t>Buyers require “appropriate licenses” and “positive value”</a:t>
            </a:r>
          </a:p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800" dirty="0">
                <a:latin typeface="Times New Roman" pitchFamily="18" charset="0"/>
                <a:cs typeface="Times New Roman" pitchFamily="18" charset="0"/>
              </a:rPr>
              <a:t>Facility not allowed to sell pulp or briquettes (went to landfill)</a:t>
            </a:r>
          </a:p>
        </p:txBody>
      </p:sp>
      <p:pic>
        <p:nvPicPr>
          <p:cNvPr id="28" name="Picture 27" descr="A pile of dirt&#10;&#10;Description automatically generated">
            <a:extLst>
              <a:ext uri="{FF2B5EF4-FFF2-40B4-BE49-F238E27FC236}">
                <a16:creationId xmlns:a16="http://schemas.microsoft.com/office/drawing/2014/main" id="{842F0B1A-A2E6-402E-8684-4A363361894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8507" y="3644548"/>
            <a:ext cx="3135389" cy="1893761"/>
          </a:xfrm>
          <a:prstGeom prst="rect">
            <a:avLst/>
          </a:prstGeom>
        </p:spPr>
      </p:pic>
      <p:pic>
        <p:nvPicPr>
          <p:cNvPr id="29" name="Picture 28" descr="A picture containing building, indoor, piece, luggage&#10;&#10;Description automatically generated">
            <a:extLst>
              <a:ext uri="{FF2B5EF4-FFF2-40B4-BE49-F238E27FC236}">
                <a16:creationId xmlns:a16="http://schemas.microsoft.com/office/drawing/2014/main" id="{13FD371A-E2F0-44A4-B760-EF5EA6800773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8391" y="1535239"/>
            <a:ext cx="3135506" cy="1893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7130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146373-2842-4822-8B1F-AC3475550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146373-2842-4822-8B1F-AC3475550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0FF785E5-A270-4098-8825-22A9F96BA3E7}"/>
              </a:ext>
            </a:extLst>
          </p:cNvPr>
          <p:cNvGrpSpPr/>
          <p:nvPr/>
        </p:nvGrpSpPr>
        <p:grpSpPr>
          <a:xfrm>
            <a:off x="347778" y="3536079"/>
            <a:ext cx="5923478" cy="1778000"/>
            <a:chOff x="-393700" y="3581400"/>
            <a:chExt cx="7188200" cy="177800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050B0A-D937-47B6-8605-15D10ABBD765}"/>
                </a:ext>
              </a:extLst>
            </p:cNvPr>
            <p:cNvCxnSpPr/>
            <p:nvPr/>
          </p:nvCxnSpPr>
          <p:spPr>
            <a:xfrm flipH="1">
              <a:off x="-393700" y="3581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FFC7CE0-EE24-4A7E-94BF-F896D00615B8}"/>
                </a:ext>
              </a:extLst>
            </p:cNvPr>
            <p:cNvCxnSpPr/>
            <p:nvPr/>
          </p:nvCxnSpPr>
          <p:spPr>
            <a:xfrm flipH="1">
              <a:off x="-393700" y="4470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80A1D8-F78E-48FF-8106-F117B5116E12}"/>
                </a:ext>
              </a:extLst>
            </p:cNvPr>
            <p:cNvCxnSpPr/>
            <p:nvPr/>
          </p:nvCxnSpPr>
          <p:spPr>
            <a:xfrm flipH="1">
              <a:off x="-393700" y="5359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D34E8B0-2954-4BDA-83A6-3AAA94B05AEA}"/>
              </a:ext>
            </a:extLst>
          </p:cNvPr>
          <p:cNvSpPr/>
          <p:nvPr/>
        </p:nvSpPr>
        <p:spPr>
          <a:xfrm>
            <a:off x="758867" y="1112666"/>
            <a:ext cx="533713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3200" b="1" dirty="0">
                <a:solidFill>
                  <a:srgbClr val="3F3F3F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What happened?</a:t>
            </a:r>
            <a:endParaRPr lang="en-US" sz="3200" b="1" dirty="0">
              <a:solidFill>
                <a:srgbClr val="3F3F3F"/>
              </a:solidFill>
              <a:effectLst/>
              <a:latin typeface="Source Sans Pro Semibold" panose="020B0503030403020204" pitchFamily="34" charset="0"/>
              <a:ea typeface="Source Sans Pro Semibold" panose="020B05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46" name="Picture 45" descr="A close up of a sign&#10;&#10;Description automatically generated">
            <a:extLst>
              <a:ext uri="{FF2B5EF4-FFF2-40B4-BE49-F238E27FC236}">
                <a16:creationId xmlns:a16="http://schemas.microsoft.com/office/drawing/2014/main" id="{0289F9E7-101A-3448-B42C-915F2E6F5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15" y="6363671"/>
            <a:ext cx="1285240" cy="352657"/>
          </a:xfrm>
          <a:prstGeom prst="rect">
            <a:avLst/>
          </a:prstGeom>
        </p:spPr>
      </p:pic>
      <p:pic>
        <p:nvPicPr>
          <p:cNvPr id="47" name="Picture 46" descr="Logo&#10;&#10;Description automatically generated">
            <a:extLst>
              <a:ext uri="{FF2B5EF4-FFF2-40B4-BE49-F238E27FC236}">
                <a16:creationId xmlns:a16="http://schemas.microsoft.com/office/drawing/2014/main" id="{2637C50F-37BB-1146-BCD7-EF92E7105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" y="6317252"/>
            <a:ext cx="1091015" cy="44549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7804CC71-5DCD-474C-8A5C-DF578BCFA07F}"/>
              </a:ext>
            </a:extLst>
          </p:cNvPr>
          <p:cNvSpPr txBox="1"/>
          <p:nvPr/>
        </p:nvSpPr>
        <p:spPr>
          <a:xfrm>
            <a:off x="9690776" y="6319048"/>
            <a:ext cx="1403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#</a:t>
            </a:r>
            <a:r>
              <a:rPr lang="en-US" b="1" dirty="0" err="1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WasteExpo</a:t>
            </a:r>
            <a:endParaRPr lang="en-US" b="1" dirty="0">
              <a:solidFill>
                <a:schemeClr val="bg1"/>
              </a:solidFill>
              <a:latin typeface="Source Sans Pro Semibold" panose="020B0503030403020204" pitchFamily="34" charset="0"/>
              <a:ea typeface="Source Sans Pro Semibold" panose="020B0503030403020204" pitchFamily="34" charset="0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2C257B8-45FB-504C-8839-2139CE760F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5052" y="5857875"/>
            <a:ext cx="890587" cy="890587"/>
          </a:xfrm>
          <a:prstGeom prst="rect">
            <a:avLst/>
          </a:prstGeom>
        </p:spPr>
      </p:pic>
      <p:pic>
        <p:nvPicPr>
          <p:cNvPr id="66" name="Picture 65" descr="Logo&#10;&#10;Description automatically generated">
            <a:extLst>
              <a:ext uri="{FF2B5EF4-FFF2-40B4-BE49-F238E27FC236}">
                <a16:creationId xmlns:a16="http://schemas.microsoft.com/office/drawing/2014/main" id="{BD7B630F-A9F6-4B43-A14E-ED25E5AB54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7473" y="5963789"/>
            <a:ext cx="597953" cy="67875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23FFD18-0055-4EBE-994B-9C8B5BC1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9" y="318501"/>
            <a:ext cx="6194044" cy="658208"/>
          </a:xfrm>
        </p:spPr>
        <p:txBody>
          <a:bodyPr>
            <a:noAutofit/>
          </a:bodyPr>
          <a:lstStyle/>
          <a:p>
            <a:r>
              <a:rPr lang="en-US" sz="2800" dirty="0"/>
              <a:t>The MRC and the Coastal Hampden Facilit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DDA3284-FBFE-4823-93E0-9F2D4F3D70FD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602" y="6199579"/>
            <a:ext cx="1403943" cy="5631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66631EA6-CBD9-4D77-9B67-27943E003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272" y="6058578"/>
            <a:ext cx="1877575" cy="68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 Box 16">
            <a:extLst>
              <a:ext uri="{FF2B5EF4-FFF2-40B4-BE49-F238E27FC236}">
                <a16:creationId xmlns:a16="http://schemas.microsoft.com/office/drawing/2014/main" id="{877B78F5-1624-4BB6-9302-87BDD9AAB3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9642" y="109538"/>
            <a:ext cx="311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100000"/>
              <a:buFont typeface="Symbol" pitchFamily="18" charset="2"/>
              <a:buChar char="·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65000"/>
              <a:buFont typeface="Monotype Sorts"/>
              <a:buChar char="l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674AFE03-12EF-4E92-A201-0451FAB8529C}" type="slidenum">
              <a:rPr lang="en-US" altLang="en-US" sz="1800"/>
              <a:pPr>
                <a:spcBef>
                  <a:spcPct val="0"/>
                </a:spcBef>
                <a:buSzTx/>
                <a:buFontTx/>
                <a:buNone/>
              </a:pPr>
              <a:t>12</a:t>
            </a:fld>
            <a:endParaRPr lang="en-US" altLang="en-US" sz="2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8E7817-2A53-4AD5-A050-472F7F02D12E}"/>
              </a:ext>
            </a:extLst>
          </p:cNvPr>
          <p:cNvSpPr txBox="1"/>
          <p:nvPr/>
        </p:nvSpPr>
        <p:spPr>
          <a:xfrm>
            <a:off x="586899" y="1727753"/>
            <a:ext cx="7452077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October 2019		Performance test</a:t>
            </a:r>
          </a:p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November 2019	Commercial operation</a:t>
            </a:r>
          </a:p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December 2019		Plan fixes/raise capital  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				Interim loan (3 months)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				Bridge loan (12 loans)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				Take-out debt/equity</a:t>
            </a:r>
          </a:p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February 2020		$1.5M interim loan</a:t>
            </a:r>
          </a:p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April 2020		Scheduled closing on 				$15 M investment, but…</a:t>
            </a:r>
          </a:p>
        </p:txBody>
      </p:sp>
      <p:pic>
        <p:nvPicPr>
          <p:cNvPr id="20" name="Picture 19" descr="A picture containing green, building, indoor, sitting&#10;&#10;Description automatically generated">
            <a:extLst>
              <a:ext uri="{FF2B5EF4-FFF2-40B4-BE49-F238E27FC236}">
                <a16:creationId xmlns:a16="http://schemas.microsoft.com/office/drawing/2014/main" id="{9BD97410-AC3A-4A7D-9607-EAA76CF085C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1320" y="3812317"/>
            <a:ext cx="2868630" cy="2151472"/>
          </a:xfrm>
          <a:prstGeom prst="rect">
            <a:avLst/>
          </a:prstGeom>
        </p:spPr>
      </p:pic>
      <p:pic>
        <p:nvPicPr>
          <p:cNvPr id="24" name="Picture 23" descr="The inside of a building&#10;&#10;Description automatically generated">
            <a:extLst>
              <a:ext uri="{FF2B5EF4-FFF2-40B4-BE49-F238E27FC236}">
                <a16:creationId xmlns:a16="http://schemas.microsoft.com/office/drawing/2014/main" id="{8CB53FDF-4989-4483-8B84-632FEAF308B2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1320" y="1483214"/>
            <a:ext cx="2825253" cy="215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1568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146373-2842-4822-8B1F-AC3475550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146373-2842-4822-8B1F-AC3475550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0FF785E5-A270-4098-8825-22A9F96BA3E7}"/>
              </a:ext>
            </a:extLst>
          </p:cNvPr>
          <p:cNvGrpSpPr/>
          <p:nvPr/>
        </p:nvGrpSpPr>
        <p:grpSpPr>
          <a:xfrm>
            <a:off x="347778" y="3536079"/>
            <a:ext cx="5923478" cy="1778000"/>
            <a:chOff x="-393700" y="3581400"/>
            <a:chExt cx="7188200" cy="177800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050B0A-D937-47B6-8605-15D10ABBD765}"/>
                </a:ext>
              </a:extLst>
            </p:cNvPr>
            <p:cNvCxnSpPr/>
            <p:nvPr/>
          </p:nvCxnSpPr>
          <p:spPr>
            <a:xfrm flipH="1">
              <a:off x="-393700" y="3581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FFC7CE0-EE24-4A7E-94BF-F896D00615B8}"/>
                </a:ext>
              </a:extLst>
            </p:cNvPr>
            <p:cNvCxnSpPr/>
            <p:nvPr/>
          </p:nvCxnSpPr>
          <p:spPr>
            <a:xfrm flipH="1">
              <a:off x="-393700" y="4470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80A1D8-F78E-48FF-8106-F117B5116E12}"/>
                </a:ext>
              </a:extLst>
            </p:cNvPr>
            <p:cNvCxnSpPr/>
            <p:nvPr/>
          </p:nvCxnSpPr>
          <p:spPr>
            <a:xfrm flipH="1">
              <a:off x="-393700" y="5359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D34E8B0-2954-4BDA-83A6-3AAA94B05AEA}"/>
              </a:ext>
            </a:extLst>
          </p:cNvPr>
          <p:cNvSpPr/>
          <p:nvPr/>
        </p:nvSpPr>
        <p:spPr>
          <a:xfrm>
            <a:off x="758867" y="1112666"/>
            <a:ext cx="533713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3200" b="1" dirty="0">
                <a:solidFill>
                  <a:srgbClr val="3F3F3F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What happened?</a:t>
            </a:r>
            <a:endParaRPr lang="en-US" sz="3200" b="1" dirty="0">
              <a:solidFill>
                <a:srgbClr val="3F3F3F"/>
              </a:solidFill>
              <a:effectLst/>
              <a:latin typeface="Source Sans Pro Semibold" panose="020B0503030403020204" pitchFamily="34" charset="0"/>
              <a:ea typeface="Source Sans Pro Semibold" panose="020B05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46" name="Picture 45" descr="A close up of a sign&#10;&#10;Description automatically generated">
            <a:extLst>
              <a:ext uri="{FF2B5EF4-FFF2-40B4-BE49-F238E27FC236}">
                <a16:creationId xmlns:a16="http://schemas.microsoft.com/office/drawing/2014/main" id="{0289F9E7-101A-3448-B42C-915F2E6F5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15" y="6363671"/>
            <a:ext cx="1285240" cy="352657"/>
          </a:xfrm>
          <a:prstGeom prst="rect">
            <a:avLst/>
          </a:prstGeom>
        </p:spPr>
      </p:pic>
      <p:pic>
        <p:nvPicPr>
          <p:cNvPr id="47" name="Picture 46" descr="Logo&#10;&#10;Description automatically generated">
            <a:extLst>
              <a:ext uri="{FF2B5EF4-FFF2-40B4-BE49-F238E27FC236}">
                <a16:creationId xmlns:a16="http://schemas.microsoft.com/office/drawing/2014/main" id="{2637C50F-37BB-1146-BCD7-EF92E7105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" y="6317252"/>
            <a:ext cx="1091015" cy="44549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7804CC71-5DCD-474C-8A5C-DF578BCFA07F}"/>
              </a:ext>
            </a:extLst>
          </p:cNvPr>
          <p:cNvSpPr txBox="1"/>
          <p:nvPr/>
        </p:nvSpPr>
        <p:spPr>
          <a:xfrm>
            <a:off x="9690776" y="6319048"/>
            <a:ext cx="1403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#</a:t>
            </a:r>
            <a:r>
              <a:rPr lang="en-US" b="1" dirty="0" err="1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WasteExpo</a:t>
            </a:r>
            <a:endParaRPr lang="en-US" b="1" dirty="0">
              <a:solidFill>
                <a:schemeClr val="bg1"/>
              </a:solidFill>
              <a:latin typeface="Source Sans Pro Semibold" panose="020B0503030403020204" pitchFamily="34" charset="0"/>
              <a:ea typeface="Source Sans Pro Semibold" panose="020B0503030403020204" pitchFamily="34" charset="0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2C257B8-45FB-504C-8839-2139CE760F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5052" y="5857875"/>
            <a:ext cx="890587" cy="890587"/>
          </a:xfrm>
          <a:prstGeom prst="rect">
            <a:avLst/>
          </a:prstGeom>
        </p:spPr>
      </p:pic>
      <p:pic>
        <p:nvPicPr>
          <p:cNvPr id="66" name="Picture 65" descr="Logo&#10;&#10;Description automatically generated">
            <a:extLst>
              <a:ext uri="{FF2B5EF4-FFF2-40B4-BE49-F238E27FC236}">
                <a16:creationId xmlns:a16="http://schemas.microsoft.com/office/drawing/2014/main" id="{BD7B630F-A9F6-4B43-A14E-ED25E5AB54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7473" y="5963789"/>
            <a:ext cx="597953" cy="67875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23FFD18-0055-4EBE-994B-9C8B5BC1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9" y="318501"/>
            <a:ext cx="6194044" cy="658208"/>
          </a:xfrm>
        </p:spPr>
        <p:txBody>
          <a:bodyPr>
            <a:noAutofit/>
          </a:bodyPr>
          <a:lstStyle/>
          <a:p>
            <a:r>
              <a:rPr lang="en-US" sz="2800" dirty="0"/>
              <a:t>The MRC and the Coastal Hampden Facilit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DDA3284-FBFE-4823-93E0-9F2D4F3D70FD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602" y="6199579"/>
            <a:ext cx="1403943" cy="5631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66631EA6-CBD9-4D77-9B67-27943E003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272" y="6058578"/>
            <a:ext cx="1877575" cy="68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 Box 16">
            <a:extLst>
              <a:ext uri="{FF2B5EF4-FFF2-40B4-BE49-F238E27FC236}">
                <a16:creationId xmlns:a16="http://schemas.microsoft.com/office/drawing/2014/main" id="{877B78F5-1624-4BB6-9302-87BDD9AAB3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9642" y="109538"/>
            <a:ext cx="311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100000"/>
              <a:buFont typeface="Symbol" pitchFamily="18" charset="2"/>
              <a:buChar char="·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65000"/>
              <a:buFont typeface="Monotype Sorts"/>
              <a:buChar char="l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674AFE03-12EF-4E92-A201-0451FAB8529C}" type="slidenum">
              <a:rPr lang="en-US" altLang="en-US" sz="1800"/>
              <a:pPr>
                <a:spcBef>
                  <a:spcPct val="0"/>
                </a:spcBef>
                <a:buSzTx/>
                <a:buFontTx/>
                <a:buNone/>
              </a:pPr>
              <a:t>13</a:t>
            </a:fld>
            <a:endParaRPr lang="en-US" altLang="en-US" sz="2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8E7817-2A53-4AD5-A050-472F7F02D12E}"/>
              </a:ext>
            </a:extLst>
          </p:cNvPr>
          <p:cNvSpPr txBox="1"/>
          <p:nvPr/>
        </p:nvSpPr>
        <p:spPr>
          <a:xfrm>
            <a:off x="483521" y="1806761"/>
            <a:ext cx="8266492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March 2020	Covid-19 goes viral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			New safety measures and costs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			Recycling markets turn down again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			Pulp purchasers reduce operations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			</a:t>
            </a:r>
            <a:r>
              <a:rPr lang="en-US" altLang="en-US" sz="2800" i="1" kern="0" dirty="0">
                <a:latin typeface="Times New Roman" pitchFamily="18" charset="0"/>
                <a:cs typeface="Times New Roman" pitchFamily="18" charset="0"/>
              </a:rPr>
              <a:t>Financial markets in turmoi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May 2020	New investment falls through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			Facility runs out of cash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			Facility suspends operation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			MSW and recyclables go to landfills	</a:t>
            </a:r>
          </a:p>
        </p:txBody>
      </p:sp>
      <p:pic>
        <p:nvPicPr>
          <p:cNvPr id="28" name="Picture 12" descr="No Tips At Glendale's Brand 158 Because It Pays Its Waiters More: LAist">
            <a:extLst>
              <a:ext uri="{FF2B5EF4-FFF2-40B4-BE49-F238E27FC236}">
                <a16:creationId xmlns:a16="http://schemas.microsoft.com/office/drawing/2014/main" id="{E80EF526-ECFA-4B50-ACB1-0E72A9BE4F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0226" y="3863813"/>
            <a:ext cx="1872583" cy="163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" descr="Coronavirus Update: 22 New Cases Reported In New Hampshire | New Hampshire  Public Radio">
            <a:extLst>
              <a:ext uri="{FF2B5EF4-FFF2-40B4-BE49-F238E27FC236}">
                <a16:creationId xmlns:a16="http://schemas.microsoft.com/office/drawing/2014/main" id="{784EA7A3-1750-4C3D-9AEE-3ED43769F5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4117" y="1939929"/>
            <a:ext cx="1872584" cy="1489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30311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146373-2842-4822-8B1F-AC3475550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146373-2842-4822-8B1F-AC3475550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0FF785E5-A270-4098-8825-22A9F96BA3E7}"/>
              </a:ext>
            </a:extLst>
          </p:cNvPr>
          <p:cNvGrpSpPr/>
          <p:nvPr/>
        </p:nvGrpSpPr>
        <p:grpSpPr>
          <a:xfrm>
            <a:off x="347778" y="3536079"/>
            <a:ext cx="5923478" cy="1778000"/>
            <a:chOff x="-393700" y="3581400"/>
            <a:chExt cx="7188200" cy="177800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050B0A-D937-47B6-8605-15D10ABBD765}"/>
                </a:ext>
              </a:extLst>
            </p:cNvPr>
            <p:cNvCxnSpPr/>
            <p:nvPr/>
          </p:nvCxnSpPr>
          <p:spPr>
            <a:xfrm flipH="1">
              <a:off x="-393700" y="3581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FFC7CE0-EE24-4A7E-94BF-F896D00615B8}"/>
                </a:ext>
              </a:extLst>
            </p:cNvPr>
            <p:cNvCxnSpPr/>
            <p:nvPr/>
          </p:nvCxnSpPr>
          <p:spPr>
            <a:xfrm flipH="1">
              <a:off x="-393700" y="4470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80A1D8-F78E-48FF-8106-F117B5116E12}"/>
                </a:ext>
              </a:extLst>
            </p:cNvPr>
            <p:cNvCxnSpPr/>
            <p:nvPr/>
          </p:nvCxnSpPr>
          <p:spPr>
            <a:xfrm flipH="1">
              <a:off x="-393700" y="5359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D34E8B0-2954-4BDA-83A6-3AAA94B05AEA}"/>
              </a:ext>
            </a:extLst>
          </p:cNvPr>
          <p:cNvSpPr/>
          <p:nvPr/>
        </p:nvSpPr>
        <p:spPr>
          <a:xfrm>
            <a:off x="758867" y="1112666"/>
            <a:ext cx="533713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3200" b="1" dirty="0">
                <a:solidFill>
                  <a:srgbClr val="3F3F3F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What’s happening?</a:t>
            </a:r>
            <a:endParaRPr lang="en-US" sz="3200" b="1" dirty="0">
              <a:solidFill>
                <a:srgbClr val="3F3F3F"/>
              </a:solidFill>
              <a:effectLst/>
              <a:latin typeface="Source Sans Pro Semibold" panose="020B0503030403020204" pitchFamily="34" charset="0"/>
              <a:ea typeface="Source Sans Pro Semibold" panose="020B05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46" name="Picture 45" descr="A close up of a sign&#10;&#10;Description automatically generated">
            <a:extLst>
              <a:ext uri="{FF2B5EF4-FFF2-40B4-BE49-F238E27FC236}">
                <a16:creationId xmlns:a16="http://schemas.microsoft.com/office/drawing/2014/main" id="{0289F9E7-101A-3448-B42C-915F2E6F5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15" y="6363671"/>
            <a:ext cx="1285240" cy="352657"/>
          </a:xfrm>
          <a:prstGeom prst="rect">
            <a:avLst/>
          </a:prstGeom>
        </p:spPr>
      </p:pic>
      <p:pic>
        <p:nvPicPr>
          <p:cNvPr id="47" name="Picture 46" descr="Logo&#10;&#10;Description automatically generated">
            <a:extLst>
              <a:ext uri="{FF2B5EF4-FFF2-40B4-BE49-F238E27FC236}">
                <a16:creationId xmlns:a16="http://schemas.microsoft.com/office/drawing/2014/main" id="{2637C50F-37BB-1146-BCD7-EF92E7105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" y="6317252"/>
            <a:ext cx="1091015" cy="44549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7804CC71-5DCD-474C-8A5C-DF578BCFA07F}"/>
              </a:ext>
            </a:extLst>
          </p:cNvPr>
          <p:cNvSpPr txBox="1"/>
          <p:nvPr/>
        </p:nvSpPr>
        <p:spPr>
          <a:xfrm>
            <a:off x="9690776" y="6319048"/>
            <a:ext cx="1403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#</a:t>
            </a:r>
            <a:r>
              <a:rPr lang="en-US" b="1" dirty="0" err="1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WasteExpo</a:t>
            </a:r>
            <a:endParaRPr lang="en-US" b="1" dirty="0">
              <a:solidFill>
                <a:schemeClr val="bg1"/>
              </a:solidFill>
              <a:latin typeface="Source Sans Pro Semibold" panose="020B0503030403020204" pitchFamily="34" charset="0"/>
              <a:ea typeface="Source Sans Pro Semibold" panose="020B0503030403020204" pitchFamily="34" charset="0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2C257B8-45FB-504C-8839-2139CE760F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5052" y="5857875"/>
            <a:ext cx="890587" cy="890587"/>
          </a:xfrm>
          <a:prstGeom prst="rect">
            <a:avLst/>
          </a:prstGeom>
        </p:spPr>
      </p:pic>
      <p:pic>
        <p:nvPicPr>
          <p:cNvPr id="66" name="Picture 65" descr="Logo&#10;&#10;Description automatically generated">
            <a:extLst>
              <a:ext uri="{FF2B5EF4-FFF2-40B4-BE49-F238E27FC236}">
                <a16:creationId xmlns:a16="http://schemas.microsoft.com/office/drawing/2014/main" id="{BD7B630F-A9F6-4B43-A14E-ED25E5AB54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7473" y="5963789"/>
            <a:ext cx="597953" cy="67875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23FFD18-0055-4EBE-994B-9C8B5BC1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9" y="318501"/>
            <a:ext cx="6194044" cy="658208"/>
          </a:xfrm>
        </p:spPr>
        <p:txBody>
          <a:bodyPr>
            <a:noAutofit/>
          </a:bodyPr>
          <a:lstStyle/>
          <a:p>
            <a:r>
              <a:rPr lang="en-US" sz="2800" dirty="0"/>
              <a:t>The MRC and the Coastal Hampden Facilit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DDA3284-FBFE-4823-93E0-9F2D4F3D70FD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602" y="6199579"/>
            <a:ext cx="1403943" cy="5631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66631EA6-CBD9-4D77-9B67-27943E003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272" y="6058578"/>
            <a:ext cx="1877575" cy="68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 Box 16">
            <a:extLst>
              <a:ext uri="{FF2B5EF4-FFF2-40B4-BE49-F238E27FC236}">
                <a16:creationId xmlns:a16="http://schemas.microsoft.com/office/drawing/2014/main" id="{877B78F5-1624-4BB6-9302-87BDD9AAB3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9642" y="109538"/>
            <a:ext cx="311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100000"/>
              <a:buFont typeface="Symbol" pitchFamily="18" charset="2"/>
              <a:buChar char="·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65000"/>
              <a:buFont typeface="Monotype Sorts"/>
              <a:buChar char="l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674AFE03-12EF-4E92-A201-0451FAB8529C}" type="slidenum">
              <a:rPr lang="en-US" altLang="en-US" sz="1800"/>
              <a:pPr>
                <a:spcBef>
                  <a:spcPct val="0"/>
                </a:spcBef>
                <a:buSzTx/>
                <a:buFontTx/>
                <a:buNone/>
              </a:pPr>
              <a:t>14</a:t>
            </a:fld>
            <a:endParaRPr lang="en-US" altLang="en-US" sz="2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8E7817-2A53-4AD5-A050-472F7F02D12E}"/>
              </a:ext>
            </a:extLst>
          </p:cNvPr>
          <p:cNvSpPr txBox="1"/>
          <p:nvPr/>
        </p:nvSpPr>
        <p:spPr>
          <a:xfrm>
            <a:off x="658820" y="1997911"/>
            <a:ext cx="9327662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July 2020	   	Bondholders put Facility in Receivership 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		   	MRC/Bondholder trustee search for buyer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December 2020	MOU signed with Delta Thermo Energy</a:t>
            </a:r>
          </a:p>
          <a:p>
            <a:pPr lvl="6"/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Winterized the Facility</a:t>
            </a:r>
          </a:p>
          <a:p>
            <a:pPr lvl="6"/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Started work on asset purchase agreements 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May 2021		Agreements completed. Execution subject to 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			member notice and response process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June 2021	   	Scheduled closing on purchase agreements	</a:t>
            </a:r>
          </a:p>
        </p:txBody>
      </p:sp>
    </p:spTree>
    <p:extLst>
      <p:ext uri="{BB962C8B-B14F-4D97-AF65-F5344CB8AC3E}">
        <p14:creationId xmlns:p14="http://schemas.microsoft.com/office/powerpoint/2010/main" val="15469822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146373-2842-4822-8B1F-AC3475550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146373-2842-4822-8B1F-AC3475550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0FF785E5-A270-4098-8825-22A9F96BA3E7}"/>
              </a:ext>
            </a:extLst>
          </p:cNvPr>
          <p:cNvGrpSpPr/>
          <p:nvPr/>
        </p:nvGrpSpPr>
        <p:grpSpPr>
          <a:xfrm>
            <a:off x="347778" y="3536079"/>
            <a:ext cx="5923478" cy="1778000"/>
            <a:chOff x="-393700" y="3581400"/>
            <a:chExt cx="7188200" cy="177800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050B0A-D937-47B6-8605-15D10ABBD765}"/>
                </a:ext>
              </a:extLst>
            </p:cNvPr>
            <p:cNvCxnSpPr/>
            <p:nvPr/>
          </p:nvCxnSpPr>
          <p:spPr>
            <a:xfrm flipH="1">
              <a:off x="-393700" y="3581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FFC7CE0-EE24-4A7E-94BF-F896D00615B8}"/>
                </a:ext>
              </a:extLst>
            </p:cNvPr>
            <p:cNvCxnSpPr/>
            <p:nvPr/>
          </p:nvCxnSpPr>
          <p:spPr>
            <a:xfrm flipH="1">
              <a:off x="-393700" y="4470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80A1D8-F78E-48FF-8106-F117B5116E12}"/>
                </a:ext>
              </a:extLst>
            </p:cNvPr>
            <p:cNvCxnSpPr/>
            <p:nvPr/>
          </p:nvCxnSpPr>
          <p:spPr>
            <a:xfrm flipH="1">
              <a:off x="-393700" y="5359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D34E8B0-2954-4BDA-83A6-3AAA94B05AEA}"/>
              </a:ext>
            </a:extLst>
          </p:cNvPr>
          <p:cNvSpPr/>
          <p:nvPr/>
        </p:nvSpPr>
        <p:spPr>
          <a:xfrm>
            <a:off x="758867" y="1112666"/>
            <a:ext cx="533713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3200" b="1" dirty="0">
                <a:solidFill>
                  <a:srgbClr val="3F3F3F"/>
                </a:solidFill>
                <a:effectLst/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Observations</a:t>
            </a:r>
          </a:p>
        </p:txBody>
      </p:sp>
      <p:pic>
        <p:nvPicPr>
          <p:cNvPr id="46" name="Picture 45" descr="A close up of a sign&#10;&#10;Description automatically generated">
            <a:extLst>
              <a:ext uri="{FF2B5EF4-FFF2-40B4-BE49-F238E27FC236}">
                <a16:creationId xmlns:a16="http://schemas.microsoft.com/office/drawing/2014/main" id="{0289F9E7-101A-3448-B42C-915F2E6F5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15" y="6363671"/>
            <a:ext cx="1285240" cy="352657"/>
          </a:xfrm>
          <a:prstGeom prst="rect">
            <a:avLst/>
          </a:prstGeom>
        </p:spPr>
      </p:pic>
      <p:pic>
        <p:nvPicPr>
          <p:cNvPr id="47" name="Picture 46" descr="Logo&#10;&#10;Description automatically generated">
            <a:extLst>
              <a:ext uri="{FF2B5EF4-FFF2-40B4-BE49-F238E27FC236}">
                <a16:creationId xmlns:a16="http://schemas.microsoft.com/office/drawing/2014/main" id="{2637C50F-37BB-1146-BCD7-EF92E7105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" y="6317252"/>
            <a:ext cx="1091015" cy="44549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7804CC71-5DCD-474C-8A5C-DF578BCFA07F}"/>
              </a:ext>
            </a:extLst>
          </p:cNvPr>
          <p:cNvSpPr txBox="1"/>
          <p:nvPr/>
        </p:nvSpPr>
        <p:spPr>
          <a:xfrm>
            <a:off x="9690776" y="6319048"/>
            <a:ext cx="1403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#</a:t>
            </a:r>
            <a:r>
              <a:rPr lang="en-US" b="1" dirty="0" err="1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WasteExpo</a:t>
            </a:r>
            <a:endParaRPr lang="en-US" b="1" dirty="0">
              <a:solidFill>
                <a:schemeClr val="bg1"/>
              </a:solidFill>
              <a:latin typeface="Source Sans Pro Semibold" panose="020B0503030403020204" pitchFamily="34" charset="0"/>
              <a:ea typeface="Source Sans Pro Semibold" panose="020B0503030403020204" pitchFamily="34" charset="0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2C257B8-45FB-504C-8839-2139CE760F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5052" y="5857875"/>
            <a:ext cx="890587" cy="890587"/>
          </a:xfrm>
          <a:prstGeom prst="rect">
            <a:avLst/>
          </a:prstGeom>
        </p:spPr>
      </p:pic>
      <p:pic>
        <p:nvPicPr>
          <p:cNvPr id="66" name="Picture 65" descr="Logo&#10;&#10;Description automatically generated">
            <a:extLst>
              <a:ext uri="{FF2B5EF4-FFF2-40B4-BE49-F238E27FC236}">
                <a16:creationId xmlns:a16="http://schemas.microsoft.com/office/drawing/2014/main" id="{BD7B630F-A9F6-4B43-A14E-ED25E5AB54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7473" y="5963789"/>
            <a:ext cx="597953" cy="67875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23FFD18-0055-4EBE-994B-9C8B5BC1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9" y="318501"/>
            <a:ext cx="6194044" cy="658208"/>
          </a:xfrm>
        </p:spPr>
        <p:txBody>
          <a:bodyPr>
            <a:noAutofit/>
          </a:bodyPr>
          <a:lstStyle/>
          <a:p>
            <a:r>
              <a:rPr lang="en-US" sz="2800" dirty="0"/>
              <a:t>The MRC and the Coastal Hampden Facilit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DDA3284-FBFE-4823-93E0-9F2D4F3D70FD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602" y="6199579"/>
            <a:ext cx="1403943" cy="5631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66631EA6-CBD9-4D77-9B67-27943E003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272" y="6058578"/>
            <a:ext cx="1877575" cy="68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 Box 16">
            <a:extLst>
              <a:ext uri="{FF2B5EF4-FFF2-40B4-BE49-F238E27FC236}">
                <a16:creationId xmlns:a16="http://schemas.microsoft.com/office/drawing/2014/main" id="{877B78F5-1624-4BB6-9302-87BDD9AAB3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9642" y="109538"/>
            <a:ext cx="311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100000"/>
              <a:buFont typeface="Symbol" pitchFamily="18" charset="2"/>
              <a:buChar char="·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65000"/>
              <a:buFont typeface="Monotype Sorts"/>
              <a:buChar char="l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674AFE03-12EF-4E92-A201-0451FAB8529C}" type="slidenum">
              <a:rPr lang="en-US" altLang="en-US" sz="1800"/>
              <a:pPr>
                <a:spcBef>
                  <a:spcPct val="0"/>
                </a:spcBef>
                <a:buSzTx/>
                <a:buFontTx/>
                <a:buNone/>
              </a:pPr>
              <a:t>15</a:t>
            </a:fld>
            <a:endParaRPr lang="en-US" altLang="en-US" sz="2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AB6B2E7-906E-47D9-AC86-9D46D177BE77}"/>
              </a:ext>
            </a:extLst>
          </p:cNvPr>
          <p:cNvSpPr txBox="1"/>
          <p:nvPr/>
        </p:nvSpPr>
        <p:spPr>
          <a:xfrm>
            <a:off x="946495" y="2017562"/>
            <a:ext cx="9748902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Landlords have leverage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Interests of financial investors did not align with Facility users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altLang="en-US" sz="2800" i="1" kern="0" dirty="0">
                <a:latin typeface="Times New Roman" pitchFamily="18" charset="0"/>
                <a:cs typeface="Times New Roman" pitchFamily="18" charset="0"/>
              </a:rPr>
              <a:t>Would a strategic investor have been a better choice?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Front-end technology works, but markets are challenging 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altLang="en-US" sz="2800" i="1" kern="0" dirty="0">
                <a:latin typeface="Times New Roman" pitchFamily="18" charset="0"/>
                <a:cs typeface="Times New Roman" pitchFamily="18" charset="0"/>
              </a:rPr>
              <a:t>Back-end technologies are challenging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Beneficial use licensing: conflict between zero waste and zero risk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Public disposal habits and </a:t>
            </a:r>
            <a:r>
              <a:rPr lang="en-US" altLang="en-US" sz="2800" kern="0" dirty="0" err="1">
                <a:latin typeface="Times New Roman" pitchFamily="18" charset="0"/>
                <a:cs typeface="Times New Roman" pitchFamily="18" charset="0"/>
              </a:rPr>
              <a:t>unprocessibles</a:t>
            </a: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 need to be managed </a:t>
            </a:r>
          </a:p>
          <a:p>
            <a:pPr algn="l">
              <a:spcBef>
                <a:spcPts val="0"/>
              </a:spcBef>
            </a:pPr>
            <a:r>
              <a:rPr lang="en-US" altLang="en-US" sz="2800" kern="0" dirty="0">
                <a:latin typeface="Times New Roman" pitchFamily="18" charset="0"/>
                <a:cs typeface="Times New Roman" pitchFamily="18" charset="0"/>
              </a:rPr>
              <a:t>Should we re-think source-separation?</a:t>
            </a:r>
          </a:p>
        </p:txBody>
      </p:sp>
    </p:spTree>
    <p:extLst>
      <p:ext uri="{BB962C8B-B14F-4D97-AF65-F5344CB8AC3E}">
        <p14:creationId xmlns:p14="http://schemas.microsoft.com/office/powerpoint/2010/main" val="15748214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146373-2842-4822-8B1F-AC3475550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146373-2842-4822-8B1F-AC3475550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0FF785E5-A270-4098-8825-22A9F96BA3E7}"/>
              </a:ext>
            </a:extLst>
          </p:cNvPr>
          <p:cNvGrpSpPr/>
          <p:nvPr/>
        </p:nvGrpSpPr>
        <p:grpSpPr>
          <a:xfrm>
            <a:off x="347778" y="3536079"/>
            <a:ext cx="5923478" cy="1778000"/>
            <a:chOff x="-393700" y="3581400"/>
            <a:chExt cx="7188200" cy="177800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050B0A-D937-47B6-8605-15D10ABBD765}"/>
                </a:ext>
              </a:extLst>
            </p:cNvPr>
            <p:cNvCxnSpPr/>
            <p:nvPr/>
          </p:nvCxnSpPr>
          <p:spPr>
            <a:xfrm flipH="1">
              <a:off x="-393700" y="3581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FFC7CE0-EE24-4A7E-94BF-F896D00615B8}"/>
                </a:ext>
              </a:extLst>
            </p:cNvPr>
            <p:cNvCxnSpPr/>
            <p:nvPr/>
          </p:nvCxnSpPr>
          <p:spPr>
            <a:xfrm flipH="1">
              <a:off x="-393700" y="4470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80A1D8-F78E-48FF-8106-F117B5116E12}"/>
                </a:ext>
              </a:extLst>
            </p:cNvPr>
            <p:cNvCxnSpPr/>
            <p:nvPr/>
          </p:nvCxnSpPr>
          <p:spPr>
            <a:xfrm flipH="1">
              <a:off x="-393700" y="5359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D34E8B0-2954-4BDA-83A6-3AAA94B05AEA}"/>
              </a:ext>
            </a:extLst>
          </p:cNvPr>
          <p:cNvSpPr/>
          <p:nvPr/>
        </p:nvSpPr>
        <p:spPr>
          <a:xfrm>
            <a:off x="758867" y="1112666"/>
            <a:ext cx="609399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3200" b="1" dirty="0">
                <a:solidFill>
                  <a:srgbClr val="3F3F3F"/>
                </a:solidFill>
                <a:effectLst/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The roller coaster ride  continues!</a:t>
            </a:r>
          </a:p>
        </p:txBody>
      </p:sp>
      <p:pic>
        <p:nvPicPr>
          <p:cNvPr id="46" name="Picture 45" descr="A close up of a sign&#10;&#10;Description automatically generated">
            <a:extLst>
              <a:ext uri="{FF2B5EF4-FFF2-40B4-BE49-F238E27FC236}">
                <a16:creationId xmlns:a16="http://schemas.microsoft.com/office/drawing/2014/main" id="{0289F9E7-101A-3448-B42C-915F2E6F5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15" y="6363671"/>
            <a:ext cx="1285240" cy="352657"/>
          </a:xfrm>
          <a:prstGeom prst="rect">
            <a:avLst/>
          </a:prstGeom>
        </p:spPr>
      </p:pic>
      <p:pic>
        <p:nvPicPr>
          <p:cNvPr id="47" name="Picture 46" descr="Logo&#10;&#10;Description automatically generated">
            <a:extLst>
              <a:ext uri="{FF2B5EF4-FFF2-40B4-BE49-F238E27FC236}">
                <a16:creationId xmlns:a16="http://schemas.microsoft.com/office/drawing/2014/main" id="{2637C50F-37BB-1146-BCD7-EF92E7105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" y="6317252"/>
            <a:ext cx="1091015" cy="44549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23FFD18-0055-4EBE-994B-9C8B5BC1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9" y="318501"/>
            <a:ext cx="6194044" cy="658208"/>
          </a:xfrm>
        </p:spPr>
        <p:txBody>
          <a:bodyPr>
            <a:noAutofit/>
          </a:bodyPr>
          <a:lstStyle/>
          <a:p>
            <a:r>
              <a:rPr lang="en-US" sz="2800" dirty="0"/>
              <a:t>The MRC and the Coastal Hampden Facilit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DDA3284-FBFE-4823-93E0-9F2D4F3D70FD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602" y="6199579"/>
            <a:ext cx="1403943" cy="5631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66631EA6-CBD9-4D77-9B67-27943E003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272" y="6058578"/>
            <a:ext cx="1877575" cy="68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 Box 16">
            <a:extLst>
              <a:ext uri="{FF2B5EF4-FFF2-40B4-BE49-F238E27FC236}">
                <a16:creationId xmlns:a16="http://schemas.microsoft.com/office/drawing/2014/main" id="{877B78F5-1624-4BB6-9302-87BDD9AAB3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9642" y="109538"/>
            <a:ext cx="311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100000"/>
              <a:buFont typeface="Symbol" pitchFamily="18" charset="2"/>
              <a:buChar char="·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65000"/>
              <a:buFont typeface="Monotype Sorts"/>
              <a:buChar char="l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674AFE03-12EF-4E92-A201-0451FAB8529C}" type="slidenum">
              <a:rPr lang="en-US" altLang="en-US" sz="1800"/>
              <a:pPr>
                <a:spcBef>
                  <a:spcPct val="0"/>
                </a:spcBef>
                <a:buSzTx/>
                <a:buFontTx/>
                <a:buNone/>
              </a:pPr>
              <a:t>16</a:t>
            </a:fld>
            <a:endParaRPr lang="en-US" altLang="en-US" sz="2400" dirty="0"/>
          </a:p>
        </p:txBody>
      </p:sp>
      <p:pic>
        <p:nvPicPr>
          <p:cNvPr id="17" name="Picture 4" descr="Palace Playland, Old Orchard Beach, Maine&#10; ">
            <a:extLst>
              <a:ext uri="{FF2B5EF4-FFF2-40B4-BE49-F238E27FC236}">
                <a16:creationId xmlns:a16="http://schemas.microsoft.com/office/drawing/2014/main" id="{10C7C740-3D71-4AA7-8A18-7BFBEB15A4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596" y="1694110"/>
            <a:ext cx="4987842" cy="3736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011DC13-E60B-4BD1-8C8B-6731CE50C88A}"/>
              </a:ext>
            </a:extLst>
          </p:cNvPr>
          <p:cNvSpPr txBox="1"/>
          <p:nvPr/>
        </p:nvSpPr>
        <p:spPr>
          <a:xfrm>
            <a:off x="6388564" y="2349607"/>
            <a:ext cx="4987840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spcBef>
                <a:spcPct val="0"/>
              </a:spcBef>
              <a:buSzTx/>
              <a:buNone/>
            </a:pPr>
            <a:r>
              <a:rPr lang="en-US" altLang="en-US" sz="2400" b="1" dirty="0">
                <a:latin typeface="Times New Roman" pitchFamily="18" charset="0"/>
                <a:cs typeface="Times New Roman" pitchFamily="18" charset="0"/>
              </a:rPr>
              <a:t>Thank you for attending!</a:t>
            </a:r>
          </a:p>
          <a:p>
            <a:pPr eaLnBrk="1" hangingPunct="1">
              <a:spcBef>
                <a:spcPct val="0"/>
              </a:spcBef>
              <a:buSzTx/>
              <a:buNone/>
            </a:pPr>
            <a:r>
              <a:rPr lang="en-US" altLang="en-US" sz="2400" dirty="0">
                <a:latin typeface="Times New Roman" pitchFamily="18" charset="0"/>
                <a:cs typeface="Times New Roman" pitchFamily="18" charset="0"/>
              </a:rPr>
              <a:t>Please fill out the session evaluation form on the mobile app or on paper</a:t>
            </a:r>
          </a:p>
          <a:p>
            <a:pPr eaLnBrk="1" hangingPunct="1">
              <a:spcBef>
                <a:spcPct val="0"/>
              </a:spcBef>
              <a:buSzTx/>
              <a:buNone/>
            </a:pPr>
            <a:endParaRPr lang="en-US" altLang="en-US" sz="2400" b="1" dirty="0"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spcBef>
                <a:spcPct val="0"/>
              </a:spcBef>
              <a:buSzTx/>
              <a:buNone/>
            </a:pPr>
            <a:r>
              <a:rPr lang="en-US" altLang="en-US" sz="2400" b="1" dirty="0">
                <a:latin typeface="Times New Roman" pitchFamily="18" charset="0"/>
                <a:cs typeface="Times New Roman" pitchFamily="18" charset="0"/>
              </a:rPr>
              <a:t>George Aronson, Principal, CRMC      </a:t>
            </a:r>
          </a:p>
          <a:p>
            <a:pPr eaLnBrk="1" hangingPunct="1">
              <a:spcBef>
                <a:spcPct val="0"/>
              </a:spcBef>
              <a:buSzTx/>
              <a:buNone/>
            </a:pPr>
            <a:r>
              <a:rPr lang="en-US" altLang="en-US" sz="2400" dirty="0">
                <a:latin typeface="Times New Roman" pitchFamily="18" charset="0"/>
                <a:cs typeface="Times New Roman" pitchFamily="18" charset="0"/>
              </a:rPr>
              <a:t>Consultants to the MRC since 1991</a:t>
            </a:r>
          </a:p>
          <a:p>
            <a:pPr eaLnBrk="1" hangingPunct="1">
              <a:spcBef>
                <a:spcPct val="0"/>
              </a:spcBef>
              <a:buSzTx/>
              <a:buNone/>
            </a:pPr>
            <a:r>
              <a:rPr lang="en-US" altLang="en-US" sz="2400" dirty="0">
                <a:latin typeface="Times New Roman" pitchFamily="18" charset="0"/>
                <a:cs typeface="Times New Roman" pitchFamily="18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aronson@crmcx.com</a:t>
            </a:r>
            <a:r>
              <a:rPr lang="en-US" alt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1400" dirty="0">
                <a:latin typeface="Times New Roman" pitchFamily="18" charset="0"/>
                <a:cs typeface="Times New Roman" pitchFamily="18" charset="0"/>
              </a:rPr>
              <a:t> 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F56FC78-81CC-4BE0-B12D-9A0F00594080}"/>
              </a:ext>
            </a:extLst>
          </p:cNvPr>
          <p:cNvSpPr/>
          <p:nvPr/>
        </p:nvSpPr>
        <p:spPr>
          <a:xfrm>
            <a:off x="658819" y="5487231"/>
            <a:ext cx="51446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2000" b="1" dirty="0">
                <a:solidFill>
                  <a:srgbClr val="3F3F3F"/>
                </a:solidFill>
                <a:effectLst/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Palace Playground, Old Orchard Beach, Maine</a:t>
            </a:r>
          </a:p>
        </p:txBody>
      </p:sp>
    </p:spTree>
    <p:extLst>
      <p:ext uri="{BB962C8B-B14F-4D97-AF65-F5344CB8AC3E}">
        <p14:creationId xmlns:p14="http://schemas.microsoft.com/office/powerpoint/2010/main" val="11178684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146373-2842-4822-8B1F-AC3475550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146373-2842-4822-8B1F-AC3475550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0FF785E5-A270-4098-8825-22A9F96BA3E7}"/>
              </a:ext>
            </a:extLst>
          </p:cNvPr>
          <p:cNvGrpSpPr/>
          <p:nvPr/>
        </p:nvGrpSpPr>
        <p:grpSpPr>
          <a:xfrm>
            <a:off x="347778" y="3536079"/>
            <a:ext cx="5923478" cy="1778000"/>
            <a:chOff x="-393700" y="3581400"/>
            <a:chExt cx="7188200" cy="177800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050B0A-D937-47B6-8605-15D10ABBD765}"/>
                </a:ext>
              </a:extLst>
            </p:cNvPr>
            <p:cNvCxnSpPr/>
            <p:nvPr/>
          </p:nvCxnSpPr>
          <p:spPr>
            <a:xfrm flipH="1">
              <a:off x="-393700" y="3581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FFC7CE0-EE24-4A7E-94BF-F896D00615B8}"/>
                </a:ext>
              </a:extLst>
            </p:cNvPr>
            <p:cNvCxnSpPr/>
            <p:nvPr/>
          </p:nvCxnSpPr>
          <p:spPr>
            <a:xfrm flipH="1">
              <a:off x="-393700" y="4470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80A1D8-F78E-48FF-8106-F117B5116E12}"/>
                </a:ext>
              </a:extLst>
            </p:cNvPr>
            <p:cNvCxnSpPr/>
            <p:nvPr/>
          </p:nvCxnSpPr>
          <p:spPr>
            <a:xfrm flipH="1">
              <a:off x="-393700" y="5359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D34E8B0-2954-4BDA-83A6-3AAA94B05AEA}"/>
              </a:ext>
            </a:extLst>
          </p:cNvPr>
          <p:cNvSpPr/>
          <p:nvPr/>
        </p:nvSpPr>
        <p:spPr>
          <a:xfrm>
            <a:off x="758867" y="1112666"/>
            <a:ext cx="4460405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3200" b="1" dirty="0">
                <a:solidFill>
                  <a:srgbClr val="3F3F3F"/>
                </a:solidFill>
                <a:effectLst/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The Municipal Review Committee, Inc. (MRC)</a:t>
            </a:r>
          </a:p>
        </p:txBody>
      </p:sp>
      <p:pic>
        <p:nvPicPr>
          <p:cNvPr id="46" name="Picture 45" descr="A close up of a sign&#10;&#10;Description automatically generated">
            <a:extLst>
              <a:ext uri="{FF2B5EF4-FFF2-40B4-BE49-F238E27FC236}">
                <a16:creationId xmlns:a16="http://schemas.microsoft.com/office/drawing/2014/main" id="{0289F9E7-101A-3448-B42C-915F2E6F5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15" y="6363671"/>
            <a:ext cx="1285240" cy="352657"/>
          </a:xfrm>
          <a:prstGeom prst="rect">
            <a:avLst/>
          </a:prstGeom>
        </p:spPr>
      </p:pic>
      <p:pic>
        <p:nvPicPr>
          <p:cNvPr id="47" name="Picture 46" descr="Logo&#10;&#10;Description automatically generated">
            <a:extLst>
              <a:ext uri="{FF2B5EF4-FFF2-40B4-BE49-F238E27FC236}">
                <a16:creationId xmlns:a16="http://schemas.microsoft.com/office/drawing/2014/main" id="{2637C50F-37BB-1146-BCD7-EF92E7105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" y="6317252"/>
            <a:ext cx="1091015" cy="44549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7804CC71-5DCD-474C-8A5C-DF578BCFA07F}"/>
              </a:ext>
            </a:extLst>
          </p:cNvPr>
          <p:cNvSpPr txBox="1"/>
          <p:nvPr/>
        </p:nvSpPr>
        <p:spPr>
          <a:xfrm>
            <a:off x="9690776" y="6319048"/>
            <a:ext cx="1403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#</a:t>
            </a:r>
            <a:r>
              <a:rPr lang="en-US" b="1" dirty="0" err="1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WasteExpo</a:t>
            </a:r>
            <a:endParaRPr lang="en-US" b="1" dirty="0">
              <a:solidFill>
                <a:schemeClr val="bg1"/>
              </a:solidFill>
              <a:latin typeface="Source Sans Pro Semibold" panose="020B0503030403020204" pitchFamily="34" charset="0"/>
              <a:ea typeface="Source Sans Pro Semibold" panose="020B0503030403020204" pitchFamily="34" charset="0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2C257B8-45FB-504C-8839-2139CE760F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5052" y="5857875"/>
            <a:ext cx="890587" cy="890587"/>
          </a:xfrm>
          <a:prstGeom prst="rect">
            <a:avLst/>
          </a:prstGeom>
        </p:spPr>
      </p:pic>
      <p:pic>
        <p:nvPicPr>
          <p:cNvPr id="66" name="Picture 65" descr="Logo&#10;&#10;Description automatically generated">
            <a:extLst>
              <a:ext uri="{FF2B5EF4-FFF2-40B4-BE49-F238E27FC236}">
                <a16:creationId xmlns:a16="http://schemas.microsoft.com/office/drawing/2014/main" id="{BD7B630F-A9F6-4B43-A14E-ED25E5AB54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7473" y="5963789"/>
            <a:ext cx="597953" cy="678757"/>
          </a:xfrm>
          <a:prstGeom prst="rect">
            <a:avLst/>
          </a:prstGeom>
        </p:spPr>
      </p:pic>
      <p:pic>
        <p:nvPicPr>
          <p:cNvPr id="24" name="Picture 2">
            <a:extLst>
              <a:ext uri="{FF2B5EF4-FFF2-40B4-BE49-F238E27FC236}">
                <a16:creationId xmlns:a16="http://schemas.microsoft.com/office/drawing/2014/main" id="{07167B6D-9A8A-4F65-B516-ADF62F75D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7814" y="943231"/>
            <a:ext cx="3881027" cy="5359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E3B9971-F1D5-4509-B708-3DD4B3C96FC8}"/>
              </a:ext>
            </a:extLst>
          </p:cNvPr>
          <p:cNvSpPr txBox="1"/>
          <p:nvPr/>
        </p:nvSpPr>
        <p:spPr>
          <a:xfrm>
            <a:off x="658819" y="2432921"/>
            <a:ext cx="6194044" cy="29084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pitchFamily="34" charset="0"/>
              </a:rPr>
              <a:t>Mission to provide affordable, long-term sustainable and environmentally sound  management of MSW in central Maine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pitchFamily="34" charset="0"/>
              </a:rPr>
              <a:t>83 public members, 115 municipalities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pitchFamily="34" charset="0"/>
              </a:rPr>
              <a:t>Formed 1991 to save the PERC RDF facility</a:t>
            </a:r>
            <a:endParaRPr lang="en-US" sz="2400" dirty="0">
              <a:solidFill>
                <a:srgbClr val="000000"/>
              </a:solidFill>
              <a:latin typeface="Times New Roman" pitchFamily="18" charset="0"/>
              <a:cs typeface="Arial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pitchFamily="34" charset="0"/>
              </a:rPr>
              <a:t>Sponsored development of mixed waste processing facility from 2014 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3FFD18-0055-4EBE-994B-9C8B5BC1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9" y="318501"/>
            <a:ext cx="6194044" cy="658208"/>
          </a:xfrm>
        </p:spPr>
        <p:txBody>
          <a:bodyPr>
            <a:noAutofit/>
          </a:bodyPr>
          <a:lstStyle/>
          <a:p>
            <a:r>
              <a:rPr lang="en-US" sz="2800" dirty="0"/>
              <a:t>The MRC and the Coastal Hampden Facilit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DDA3284-FBFE-4823-93E0-9F2D4F3D70FD}"/>
              </a:ext>
            </a:extLst>
          </p:cNvPr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9756" y="6058578"/>
            <a:ext cx="1515790" cy="704171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66631EA6-CBD9-4D77-9B67-27943E003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3398" y="6058578"/>
            <a:ext cx="2053449" cy="68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Text Box 16">
            <a:extLst>
              <a:ext uri="{FF2B5EF4-FFF2-40B4-BE49-F238E27FC236}">
                <a16:creationId xmlns:a16="http://schemas.microsoft.com/office/drawing/2014/main" id="{1DE0860A-9B29-4215-AC42-4D47C9883F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9642" y="109538"/>
            <a:ext cx="311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100000"/>
              <a:buFont typeface="Symbol" pitchFamily="18" charset="2"/>
              <a:buChar char="·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65000"/>
              <a:buFont typeface="Monotype Sorts"/>
              <a:buChar char="l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674AFE03-12EF-4E92-A201-0451FAB8529C}" type="slidenum">
              <a:rPr lang="en-US" altLang="en-US" sz="1800"/>
              <a:pPr>
                <a:spcBef>
                  <a:spcPct val="0"/>
                </a:spcBef>
                <a:buSzTx/>
                <a:buFontTx/>
                <a:buNone/>
              </a:pPr>
              <a:t>2</a:t>
            </a:fld>
            <a:endParaRPr lang="en-US" altLang="en-US" sz="2400" dirty="0"/>
          </a:p>
        </p:txBody>
      </p:sp>
    </p:spTree>
    <p:extLst>
      <p:ext uri="{BB962C8B-B14F-4D97-AF65-F5344CB8AC3E}">
        <p14:creationId xmlns:p14="http://schemas.microsoft.com/office/powerpoint/2010/main" val="4994704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146373-2842-4822-8B1F-AC3475550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146373-2842-4822-8B1F-AC3475550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0FF785E5-A270-4098-8825-22A9F96BA3E7}"/>
              </a:ext>
            </a:extLst>
          </p:cNvPr>
          <p:cNvGrpSpPr/>
          <p:nvPr/>
        </p:nvGrpSpPr>
        <p:grpSpPr>
          <a:xfrm>
            <a:off x="347778" y="3536079"/>
            <a:ext cx="5923478" cy="1778000"/>
            <a:chOff x="-393700" y="3581400"/>
            <a:chExt cx="7188200" cy="177800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050B0A-D937-47B6-8605-15D10ABBD765}"/>
                </a:ext>
              </a:extLst>
            </p:cNvPr>
            <p:cNvCxnSpPr/>
            <p:nvPr/>
          </p:nvCxnSpPr>
          <p:spPr>
            <a:xfrm flipH="1">
              <a:off x="-393700" y="3581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FFC7CE0-EE24-4A7E-94BF-F896D00615B8}"/>
                </a:ext>
              </a:extLst>
            </p:cNvPr>
            <p:cNvCxnSpPr/>
            <p:nvPr/>
          </p:nvCxnSpPr>
          <p:spPr>
            <a:xfrm flipH="1">
              <a:off x="-393700" y="4470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80A1D8-F78E-48FF-8106-F117B5116E12}"/>
                </a:ext>
              </a:extLst>
            </p:cNvPr>
            <p:cNvCxnSpPr/>
            <p:nvPr/>
          </p:nvCxnSpPr>
          <p:spPr>
            <a:xfrm flipH="1">
              <a:off x="-393700" y="5359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D34E8B0-2954-4BDA-83A6-3AAA94B05AEA}"/>
              </a:ext>
            </a:extLst>
          </p:cNvPr>
          <p:cNvSpPr/>
          <p:nvPr/>
        </p:nvSpPr>
        <p:spPr>
          <a:xfrm>
            <a:off x="758867" y="1112666"/>
            <a:ext cx="533713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3200" b="1" dirty="0">
                <a:solidFill>
                  <a:srgbClr val="3F3F3F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Why mixed waste processing?</a:t>
            </a:r>
            <a:endParaRPr lang="en-US" sz="3200" b="1" dirty="0">
              <a:solidFill>
                <a:srgbClr val="3F3F3F"/>
              </a:solidFill>
              <a:effectLst/>
              <a:latin typeface="Source Sans Pro Semibold" panose="020B0503030403020204" pitchFamily="34" charset="0"/>
              <a:ea typeface="Source Sans Pro Semibold" panose="020B05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46" name="Picture 45" descr="A close up of a sign&#10;&#10;Description automatically generated">
            <a:extLst>
              <a:ext uri="{FF2B5EF4-FFF2-40B4-BE49-F238E27FC236}">
                <a16:creationId xmlns:a16="http://schemas.microsoft.com/office/drawing/2014/main" id="{0289F9E7-101A-3448-B42C-915F2E6F5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15" y="6363671"/>
            <a:ext cx="1285240" cy="352657"/>
          </a:xfrm>
          <a:prstGeom prst="rect">
            <a:avLst/>
          </a:prstGeom>
        </p:spPr>
      </p:pic>
      <p:pic>
        <p:nvPicPr>
          <p:cNvPr id="47" name="Picture 46" descr="Logo&#10;&#10;Description automatically generated">
            <a:extLst>
              <a:ext uri="{FF2B5EF4-FFF2-40B4-BE49-F238E27FC236}">
                <a16:creationId xmlns:a16="http://schemas.microsoft.com/office/drawing/2014/main" id="{2637C50F-37BB-1146-BCD7-EF92E7105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" y="6317252"/>
            <a:ext cx="1091015" cy="44549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7804CC71-5DCD-474C-8A5C-DF578BCFA07F}"/>
              </a:ext>
            </a:extLst>
          </p:cNvPr>
          <p:cNvSpPr txBox="1"/>
          <p:nvPr/>
        </p:nvSpPr>
        <p:spPr>
          <a:xfrm>
            <a:off x="9690776" y="6319048"/>
            <a:ext cx="1403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#</a:t>
            </a:r>
            <a:r>
              <a:rPr lang="en-US" b="1" dirty="0" err="1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WasteExpo</a:t>
            </a:r>
            <a:endParaRPr lang="en-US" b="1" dirty="0">
              <a:solidFill>
                <a:schemeClr val="bg1"/>
              </a:solidFill>
              <a:latin typeface="Source Sans Pro Semibold" panose="020B0503030403020204" pitchFamily="34" charset="0"/>
              <a:ea typeface="Source Sans Pro Semibold" panose="020B0503030403020204" pitchFamily="34" charset="0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2C257B8-45FB-504C-8839-2139CE760F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5052" y="5857875"/>
            <a:ext cx="890587" cy="890587"/>
          </a:xfrm>
          <a:prstGeom prst="rect">
            <a:avLst/>
          </a:prstGeom>
        </p:spPr>
      </p:pic>
      <p:pic>
        <p:nvPicPr>
          <p:cNvPr id="66" name="Picture 65" descr="Logo&#10;&#10;Description automatically generated">
            <a:extLst>
              <a:ext uri="{FF2B5EF4-FFF2-40B4-BE49-F238E27FC236}">
                <a16:creationId xmlns:a16="http://schemas.microsoft.com/office/drawing/2014/main" id="{BD7B630F-A9F6-4B43-A14E-ED25E5AB54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7473" y="5963789"/>
            <a:ext cx="597953" cy="678757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E3B9971-F1D5-4509-B708-3DD4B3C96FC8}"/>
              </a:ext>
            </a:extLst>
          </p:cNvPr>
          <p:cNvSpPr txBox="1"/>
          <p:nvPr/>
        </p:nvSpPr>
        <p:spPr>
          <a:xfrm>
            <a:off x="280388" y="1860853"/>
            <a:ext cx="5914929" cy="35855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pitchFamily="34" charset="0"/>
              </a:rPr>
              <a:t>PERC agreements expired in 2018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PPA special electricity price ended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pitchFamily="34" charset="0"/>
              </a:rPr>
              <a:t>Wholesale prices MUCH lower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Maine has a commercial landfill ban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MRC objectives included:</a:t>
            </a:r>
          </a:p>
          <a:p>
            <a:pPr marL="800100" lvl="1" indent="-3429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Diversion from landfill/waste-to-energy</a:t>
            </a:r>
          </a:p>
          <a:p>
            <a:pPr marL="800100" lvl="1" indent="-3429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Reduced haul costs</a:t>
            </a:r>
          </a:p>
          <a:p>
            <a:pPr marL="800100" lvl="1" indent="-3429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pitchFamily="34" charset="0"/>
              </a:rPr>
              <a:t>Regional recycling approach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3FFD18-0055-4EBE-994B-9C8B5BC1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9" y="318501"/>
            <a:ext cx="6194044" cy="658208"/>
          </a:xfrm>
        </p:spPr>
        <p:txBody>
          <a:bodyPr>
            <a:noAutofit/>
          </a:bodyPr>
          <a:lstStyle/>
          <a:p>
            <a:r>
              <a:rPr lang="en-US" sz="2800" dirty="0"/>
              <a:t>The MRC and the Coastal Hampden Facilit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DDA3284-FBFE-4823-93E0-9F2D4F3D70FD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602" y="6199579"/>
            <a:ext cx="1403943" cy="5631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66631EA6-CBD9-4D77-9B67-27943E003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272" y="6058578"/>
            <a:ext cx="1877575" cy="68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 Box 16">
            <a:extLst>
              <a:ext uri="{FF2B5EF4-FFF2-40B4-BE49-F238E27FC236}">
                <a16:creationId xmlns:a16="http://schemas.microsoft.com/office/drawing/2014/main" id="{877B78F5-1624-4BB6-9302-87BDD9AAB3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9642" y="109538"/>
            <a:ext cx="311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100000"/>
              <a:buFont typeface="Symbol" pitchFamily="18" charset="2"/>
              <a:buChar char="·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65000"/>
              <a:buFont typeface="Monotype Sorts"/>
              <a:buChar char="l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674AFE03-12EF-4E92-A201-0451FAB8529C}" type="slidenum">
              <a:rPr lang="en-US" altLang="en-US" sz="1800"/>
              <a:pPr>
                <a:spcBef>
                  <a:spcPct val="0"/>
                </a:spcBef>
                <a:buSzTx/>
                <a:buFontTx/>
                <a:buNone/>
              </a:pPr>
              <a:t>3</a:t>
            </a:fld>
            <a:endParaRPr lang="en-US" altLang="en-US" sz="2400" dirty="0"/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00000000-0008-0000-01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4242625"/>
              </p:ext>
            </p:extLst>
          </p:nvPr>
        </p:nvGraphicFramePr>
        <p:xfrm>
          <a:off x="6096001" y="874845"/>
          <a:ext cx="5503840" cy="49830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FE2F8A0B-C7F3-4E9D-A3E4-BA85340D8914}"/>
              </a:ext>
            </a:extLst>
          </p:cNvPr>
          <p:cNvSpPr/>
          <p:nvPr/>
        </p:nvSpPr>
        <p:spPr>
          <a:xfrm>
            <a:off x="7096847" y="2004804"/>
            <a:ext cx="156426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b="1" dirty="0">
                <a:solidFill>
                  <a:srgbClr val="3F3F3F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PERC PPA price</a:t>
            </a:r>
            <a:endParaRPr lang="en-US" sz="1600" b="1" dirty="0">
              <a:solidFill>
                <a:srgbClr val="3F3F3F"/>
              </a:solidFill>
              <a:effectLst/>
              <a:latin typeface="Source Sans Pro Semibold" panose="020B0503030403020204" pitchFamily="34" charset="0"/>
              <a:ea typeface="Source Sans Pro Semibold" panose="020B0503030403020204" pitchFamily="34" charset="0"/>
              <a:cs typeface="Segoe UI" panose="020B0502040204020203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1C4D578-57F6-4D2D-922A-C3D2C28908CE}"/>
              </a:ext>
            </a:extLst>
          </p:cNvPr>
          <p:cNvSpPr/>
          <p:nvPr/>
        </p:nvSpPr>
        <p:spPr>
          <a:xfrm>
            <a:off x="7878978" y="4972323"/>
            <a:ext cx="221023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b="1" dirty="0">
                <a:solidFill>
                  <a:srgbClr val="3F3F3F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Wholesale </a:t>
            </a:r>
            <a:r>
              <a:rPr lang="en-US" sz="1600" b="1" dirty="0" err="1">
                <a:solidFill>
                  <a:srgbClr val="3F3F3F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elec</a:t>
            </a:r>
            <a:r>
              <a:rPr lang="en-US" sz="1600" b="1" dirty="0">
                <a:solidFill>
                  <a:srgbClr val="3F3F3F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 prices</a:t>
            </a:r>
            <a:endParaRPr lang="en-US" sz="1600" b="1" dirty="0">
              <a:solidFill>
                <a:srgbClr val="3F3F3F"/>
              </a:solidFill>
              <a:effectLst/>
              <a:latin typeface="Source Sans Pro Semibold" panose="020B0503030403020204" pitchFamily="34" charset="0"/>
              <a:ea typeface="Source Sans Pro Semibold" panose="020B050303040302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78148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146373-2842-4822-8B1F-AC3475550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146373-2842-4822-8B1F-AC3475550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0FF785E5-A270-4098-8825-22A9F96BA3E7}"/>
              </a:ext>
            </a:extLst>
          </p:cNvPr>
          <p:cNvGrpSpPr/>
          <p:nvPr/>
        </p:nvGrpSpPr>
        <p:grpSpPr>
          <a:xfrm>
            <a:off x="347778" y="3536079"/>
            <a:ext cx="5923478" cy="1778000"/>
            <a:chOff x="-393700" y="3581400"/>
            <a:chExt cx="7188200" cy="177800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050B0A-D937-47B6-8605-15D10ABBD765}"/>
                </a:ext>
              </a:extLst>
            </p:cNvPr>
            <p:cNvCxnSpPr/>
            <p:nvPr/>
          </p:nvCxnSpPr>
          <p:spPr>
            <a:xfrm flipH="1">
              <a:off x="-393700" y="3581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FFC7CE0-EE24-4A7E-94BF-F896D00615B8}"/>
                </a:ext>
              </a:extLst>
            </p:cNvPr>
            <p:cNvCxnSpPr/>
            <p:nvPr/>
          </p:nvCxnSpPr>
          <p:spPr>
            <a:xfrm flipH="1">
              <a:off x="-393700" y="4470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80A1D8-F78E-48FF-8106-F117B5116E12}"/>
                </a:ext>
              </a:extLst>
            </p:cNvPr>
            <p:cNvCxnSpPr/>
            <p:nvPr/>
          </p:nvCxnSpPr>
          <p:spPr>
            <a:xfrm flipH="1">
              <a:off x="-393700" y="5359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D34E8B0-2954-4BDA-83A6-3AAA94B05AEA}"/>
              </a:ext>
            </a:extLst>
          </p:cNvPr>
          <p:cNvSpPr/>
          <p:nvPr/>
        </p:nvSpPr>
        <p:spPr>
          <a:xfrm>
            <a:off x="758867" y="1112666"/>
            <a:ext cx="6669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3200" b="1" dirty="0">
                <a:solidFill>
                  <a:srgbClr val="3F3F3F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Development process – early stage</a:t>
            </a:r>
            <a:endParaRPr lang="en-US" sz="3200" b="1" dirty="0">
              <a:solidFill>
                <a:srgbClr val="3F3F3F"/>
              </a:solidFill>
              <a:effectLst/>
              <a:latin typeface="Source Sans Pro Semibold" panose="020B0503030403020204" pitchFamily="34" charset="0"/>
              <a:ea typeface="Source Sans Pro Semibold" panose="020B05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46" name="Picture 45" descr="A close up of a sign&#10;&#10;Description automatically generated">
            <a:extLst>
              <a:ext uri="{FF2B5EF4-FFF2-40B4-BE49-F238E27FC236}">
                <a16:creationId xmlns:a16="http://schemas.microsoft.com/office/drawing/2014/main" id="{0289F9E7-101A-3448-B42C-915F2E6F5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15" y="6363671"/>
            <a:ext cx="1285240" cy="352657"/>
          </a:xfrm>
          <a:prstGeom prst="rect">
            <a:avLst/>
          </a:prstGeom>
        </p:spPr>
      </p:pic>
      <p:pic>
        <p:nvPicPr>
          <p:cNvPr id="47" name="Picture 46" descr="Logo&#10;&#10;Description automatically generated">
            <a:extLst>
              <a:ext uri="{FF2B5EF4-FFF2-40B4-BE49-F238E27FC236}">
                <a16:creationId xmlns:a16="http://schemas.microsoft.com/office/drawing/2014/main" id="{2637C50F-37BB-1146-BCD7-EF92E7105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" y="6317252"/>
            <a:ext cx="1091015" cy="44549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7804CC71-5DCD-474C-8A5C-DF578BCFA07F}"/>
              </a:ext>
            </a:extLst>
          </p:cNvPr>
          <p:cNvSpPr txBox="1"/>
          <p:nvPr/>
        </p:nvSpPr>
        <p:spPr>
          <a:xfrm>
            <a:off x="9690776" y="6319048"/>
            <a:ext cx="1403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#</a:t>
            </a:r>
            <a:r>
              <a:rPr lang="en-US" b="1" dirty="0" err="1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WasteExpo</a:t>
            </a:r>
            <a:endParaRPr lang="en-US" b="1" dirty="0">
              <a:solidFill>
                <a:schemeClr val="bg1"/>
              </a:solidFill>
              <a:latin typeface="Source Sans Pro Semibold" panose="020B0503030403020204" pitchFamily="34" charset="0"/>
              <a:ea typeface="Source Sans Pro Semibold" panose="020B0503030403020204" pitchFamily="34" charset="0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2C257B8-45FB-504C-8839-2139CE760F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5052" y="5857875"/>
            <a:ext cx="890587" cy="890587"/>
          </a:xfrm>
          <a:prstGeom prst="rect">
            <a:avLst/>
          </a:prstGeom>
        </p:spPr>
      </p:pic>
      <p:pic>
        <p:nvPicPr>
          <p:cNvPr id="66" name="Picture 65" descr="Logo&#10;&#10;Description automatically generated">
            <a:extLst>
              <a:ext uri="{FF2B5EF4-FFF2-40B4-BE49-F238E27FC236}">
                <a16:creationId xmlns:a16="http://schemas.microsoft.com/office/drawing/2014/main" id="{BD7B630F-A9F6-4B43-A14E-ED25E5AB54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7473" y="5963789"/>
            <a:ext cx="597953" cy="678757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E3B9971-F1D5-4509-B708-3DD4B3C96FC8}"/>
              </a:ext>
            </a:extLst>
          </p:cNvPr>
          <p:cNvSpPr txBox="1"/>
          <p:nvPr/>
        </p:nvSpPr>
        <p:spPr>
          <a:xfrm>
            <a:off x="534257" y="1862209"/>
            <a:ext cx="6318606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pitchFamily="34" charset="0"/>
              </a:rPr>
              <a:t>2007	First survey of alternative technologies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AutoNum type="arabicPlain" startAt="2008"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    MRC/PERC discussing contract extension 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AutoNum type="arabicPlain" startAt="2012"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 	Negotiations break down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AutoNum type="arabicPlain" startAt="2013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pitchFamily="34" charset="0"/>
              </a:rPr>
              <a:t>    MRC issues RFEI for a new facility</a:t>
            </a:r>
            <a:endParaRPr lang="en-US" sz="2400" dirty="0">
              <a:solidFill>
                <a:srgbClr val="000000"/>
              </a:solidFill>
              <a:latin typeface="Times New Roman" pitchFamily="18" charset="0"/>
              <a:cs typeface="Arial" pitchFamily="34" charset="0"/>
            </a:endParaRPr>
          </a:p>
          <a:p>
            <a:pPr marL="800100" lvl="1" indent="-3429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15 responses, few US facilities at scale</a:t>
            </a:r>
          </a:p>
          <a:p>
            <a:pPr marL="800100" lvl="1" indent="-3429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pitchFamily="34" charset="0"/>
              </a:rPr>
              <a:t>Selected Fiberight as developer </a:t>
            </a:r>
          </a:p>
          <a:p>
            <a:pPr marL="1257300" lvl="2" indent="-3429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Pilot facility in Lawrenceville, VA</a:t>
            </a:r>
          </a:p>
          <a:p>
            <a:pPr marL="1257300" lvl="2" indent="-3429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pitchFamily="34" charset="0"/>
              </a:rPr>
              <a:t>Pulp makes sense in Maine</a:t>
            </a:r>
          </a:p>
          <a:p>
            <a:pPr eaLnBrk="0" fontAlgn="base" hangingPunct="0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2015	MRC buys option on Hampden si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3FFD18-0055-4EBE-994B-9C8B5BC1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9" y="318501"/>
            <a:ext cx="6194044" cy="658208"/>
          </a:xfrm>
        </p:spPr>
        <p:txBody>
          <a:bodyPr>
            <a:noAutofit/>
          </a:bodyPr>
          <a:lstStyle/>
          <a:p>
            <a:r>
              <a:rPr lang="en-US" sz="2800" dirty="0"/>
              <a:t>The MRC and the Coastal Hampden Facilit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DDA3284-FBFE-4823-93E0-9F2D4F3D70FD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602" y="6199579"/>
            <a:ext cx="1403943" cy="5631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66631EA6-CBD9-4D77-9B67-27943E003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272" y="6058578"/>
            <a:ext cx="1877575" cy="68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 Box 16">
            <a:extLst>
              <a:ext uri="{FF2B5EF4-FFF2-40B4-BE49-F238E27FC236}">
                <a16:creationId xmlns:a16="http://schemas.microsoft.com/office/drawing/2014/main" id="{877B78F5-1624-4BB6-9302-87BDD9AAB3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9642" y="109538"/>
            <a:ext cx="311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100000"/>
              <a:buFont typeface="Symbol" pitchFamily="18" charset="2"/>
              <a:buChar char="·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65000"/>
              <a:buFont typeface="Monotype Sorts"/>
              <a:buChar char="l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674AFE03-12EF-4E92-A201-0451FAB8529C}" type="slidenum">
              <a:rPr lang="en-US" altLang="en-US" sz="1800"/>
              <a:pPr>
                <a:spcBef>
                  <a:spcPct val="0"/>
                </a:spcBef>
                <a:buSzTx/>
                <a:buFontTx/>
                <a:buNone/>
              </a:pPr>
              <a:t>4</a:t>
            </a:fld>
            <a:endParaRPr lang="en-US" altLang="en-US" sz="240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127709BF-69B5-47C3-BA1F-F1F74B67DB5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564" y="1983402"/>
            <a:ext cx="4824179" cy="3696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5648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146373-2842-4822-8B1F-AC3475550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146373-2842-4822-8B1F-AC3475550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0FF785E5-A270-4098-8825-22A9F96BA3E7}"/>
              </a:ext>
            </a:extLst>
          </p:cNvPr>
          <p:cNvGrpSpPr/>
          <p:nvPr/>
        </p:nvGrpSpPr>
        <p:grpSpPr>
          <a:xfrm>
            <a:off x="347778" y="3536079"/>
            <a:ext cx="5923478" cy="1778000"/>
            <a:chOff x="-393700" y="3581400"/>
            <a:chExt cx="7188200" cy="177800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050B0A-D937-47B6-8605-15D10ABBD765}"/>
                </a:ext>
              </a:extLst>
            </p:cNvPr>
            <p:cNvCxnSpPr/>
            <p:nvPr/>
          </p:nvCxnSpPr>
          <p:spPr>
            <a:xfrm flipH="1">
              <a:off x="-393700" y="3581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FFC7CE0-EE24-4A7E-94BF-F896D00615B8}"/>
                </a:ext>
              </a:extLst>
            </p:cNvPr>
            <p:cNvCxnSpPr/>
            <p:nvPr/>
          </p:nvCxnSpPr>
          <p:spPr>
            <a:xfrm flipH="1">
              <a:off x="-393700" y="4470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80A1D8-F78E-48FF-8106-F117B5116E12}"/>
                </a:ext>
              </a:extLst>
            </p:cNvPr>
            <p:cNvCxnSpPr/>
            <p:nvPr/>
          </p:nvCxnSpPr>
          <p:spPr>
            <a:xfrm flipH="1">
              <a:off x="-393700" y="5359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D34E8B0-2954-4BDA-83A6-3AAA94B05AEA}"/>
              </a:ext>
            </a:extLst>
          </p:cNvPr>
          <p:cNvSpPr/>
          <p:nvPr/>
        </p:nvSpPr>
        <p:spPr>
          <a:xfrm>
            <a:off x="758867" y="927015"/>
            <a:ext cx="926871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3200" b="1" dirty="0">
                <a:solidFill>
                  <a:srgbClr val="3F3F3F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Hampden Facility Process Flow Diagram</a:t>
            </a:r>
            <a:endParaRPr lang="en-US" sz="3200" b="1" dirty="0">
              <a:solidFill>
                <a:srgbClr val="3F3F3F"/>
              </a:solidFill>
              <a:effectLst/>
              <a:latin typeface="Source Sans Pro Semibold" panose="020B0503030403020204" pitchFamily="34" charset="0"/>
              <a:ea typeface="Source Sans Pro Semibold" panose="020B05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46" name="Picture 45" descr="A close up of a sign&#10;&#10;Description automatically generated">
            <a:extLst>
              <a:ext uri="{FF2B5EF4-FFF2-40B4-BE49-F238E27FC236}">
                <a16:creationId xmlns:a16="http://schemas.microsoft.com/office/drawing/2014/main" id="{0289F9E7-101A-3448-B42C-915F2E6F5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15" y="6363671"/>
            <a:ext cx="1285240" cy="352657"/>
          </a:xfrm>
          <a:prstGeom prst="rect">
            <a:avLst/>
          </a:prstGeom>
        </p:spPr>
      </p:pic>
      <p:pic>
        <p:nvPicPr>
          <p:cNvPr id="47" name="Picture 46" descr="Logo&#10;&#10;Description automatically generated">
            <a:extLst>
              <a:ext uri="{FF2B5EF4-FFF2-40B4-BE49-F238E27FC236}">
                <a16:creationId xmlns:a16="http://schemas.microsoft.com/office/drawing/2014/main" id="{2637C50F-37BB-1146-BCD7-EF92E7105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" y="6317252"/>
            <a:ext cx="1091015" cy="44549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7804CC71-5DCD-474C-8A5C-DF578BCFA07F}"/>
              </a:ext>
            </a:extLst>
          </p:cNvPr>
          <p:cNvSpPr txBox="1"/>
          <p:nvPr/>
        </p:nvSpPr>
        <p:spPr>
          <a:xfrm>
            <a:off x="9690776" y="6319048"/>
            <a:ext cx="1403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#</a:t>
            </a:r>
            <a:r>
              <a:rPr lang="en-US" b="1" dirty="0" err="1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WasteExpo</a:t>
            </a:r>
            <a:endParaRPr lang="en-US" b="1" dirty="0">
              <a:solidFill>
                <a:schemeClr val="bg1"/>
              </a:solidFill>
              <a:latin typeface="Source Sans Pro Semibold" panose="020B0503030403020204" pitchFamily="34" charset="0"/>
              <a:ea typeface="Source Sans Pro Semibold" panose="020B0503030403020204" pitchFamily="34" charset="0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2C257B8-45FB-504C-8839-2139CE760F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5052" y="5857875"/>
            <a:ext cx="890587" cy="890587"/>
          </a:xfrm>
          <a:prstGeom prst="rect">
            <a:avLst/>
          </a:prstGeom>
        </p:spPr>
      </p:pic>
      <p:pic>
        <p:nvPicPr>
          <p:cNvPr id="66" name="Picture 65" descr="Logo&#10;&#10;Description automatically generated">
            <a:extLst>
              <a:ext uri="{FF2B5EF4-FFF2-40B4-BE49-F238E27FC236}">
                <a16:creationId xmlns:a16="http://schemas.microsoft.com/office/drawing/2014/main" id="{BD7B630F-A9F6-4B43-A14E-ED25E5AB54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7473" y="5963789"/>
            <a:ext cx="597953" cy="67875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23FFD18-0055-4EBE-994B-9C8B5BC1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9" y="318501"/>
            <a:ext cx="6194044" cy="658208"/>
          </a:xfrm>
        </p:spPr>
        <p:txBody>
          <a:bodyPr>
            <a:noAutofit/>
          </a:bodyPr>
          <a:lstStyle/>
          <a:p>
            <a:r>
              <a:rPr lang="en-US" sz="2800" dirty="0"/>
              <a:t>The MRC and the Coastal Hampden Facilit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DDA3284-FBFE-4823-93E0-9F2D4F3D70FD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602" y="6199579"/>
            <a:ext cx="1403943" cy="5631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66631EA6-CBD9-4D77-9B67-27943E003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272" y="6058578"/>
            <a:ext cx="1877575" cy="68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 Box 16">
            <a:extLst>
              <a:ext uri="{FF2B5EF4-FFF2-40B4-BE49-F238E27FC236}">
                <a16:creationId xmlns:a16="http://schemas.microsoft.com/office/drawing/2014/main" id="{877B78F5-1624-4BB6-9302-87BDD9AAB3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9642" y="109538"/>
            <a:ext cx="311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100000"/>
              <a:buFont typeface="Symbol" pitchFamily="18" charset="2"/>
              <a:buChar char="·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65000"/>
              <a:buFont typeface="Monotype Sorts"/>
              <a:buChar char="l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674AFE03-12EF-4E92-A201-0451FAB8529C}" type="slidenum">
              <a:rPr lang="en-US" altLang="en-US" sz="1800"/>
              <a:pPr>
                <a:spcBef>
                  <a:spcPct val="0"/>
                </a:spcBef>
                <a:buSzTx/>
                <a:buFontTx/>
                <a:buNone/>
              </a:pPr>
              <a:t>5</a:t>
            </a:fld>
            <a:endParaRPr lang="en-US" altLang="en-US" sz="2400" dirty="0"/>
          </a:p>
        </p:txBody>
      </p:sp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DC2CE19E-0F2F-40A3-900A-A2AE89124963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31" t="22496" r="5947" b="21031"/>
          <a:stretch/>
        </p:blipFill>
        <p:spPr>
          <a:xfrm>
            <a:off x="758867" y="1543920"/>
            <a:ext cx="9782418" cy="441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0598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146373-2842-4822-8B1F-AC3475550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146373-2842-4822-8B1F-AC3475550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0FF785E5-A270-4098-8825-22A9F96BA3E7}"/>
              </a:ext>
            </a:extLst>
          </p:cNvPr>
          <p:cNvGrpSpPr/>
          <p:nvPr/>
        </p:nvGrpSpPr>
        <p:grpSpPr>
          <a:xfrm>
            <a:off x="347778" y="3536079"/>
            <a:ext cx="5923478" cy="1778000"/>
            <a:chOff x="-393700" y="3581400"/>
            <a:chExt cx="7188200" cy="177800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050B0A-D937-47B6-8605-15D10ABBD765}"/>
                </a:ext>
              </a:extLst>
            </p:cNvPr>
            <p:cNvCxnSpPr/>
            <p:nvPr/>
          </p:nvCxnSpPr>
          <p:spPr>
            <a:xfrm flipH="1">
              <a:off x="-393700" y="3581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FFC7CE0-EE24-4A7E-94BF-F896D00615B8}"/>
                </a:ext>
              </a:extLst>
            </p:cNvPr>
            <p:cNvCxnSpPr/>
            <p:nvPr/>
          </p:nvCxnSpPr>
          <p:spPr>
            <a:xfrm flipH="1">
              <a:off x="-393700" y="4470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80A1D8-F78E-48FF-8106-F117B5116E12}"/>
                </a:ext>
              </a:extLst>
            </p:cNvPr>
            <p:cNvCxnSpPr/>
            <p:nvPr/>
          </p:nvCxnSpPr>
          <p:spPr>
            <a:xfrm flipH="1">
              <a:off x="-393700" y="5359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D34E8B0-2954-4BDA-83A6-3AAA94B05AEA}"/>
              </a:ext>
            </a:extLst>
          </p:cNvPr>
          <p:cNvSpPr/>
          <p:nvPr/>
        </p:nvSpPr>
        <p:spPr>
          <a:xfrm>
            <a:off x="758867" y="1112666"/>
            <a:ext cx="633798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3200" b="1" dirty="0">
                <a:solidFill>
                  <a:srgbClr val="3F3F3F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Development process – next stage</a:t>
            </a:r>
            <a:endParaRPr lang="en-US" sz="3200" b="1" dirty="0">
              <a:solidFill>
                <a:srgbClr val="3F3F3F"/>
              </a:solidFill>
              <a:effectLst/>
              <a:latin typeface="Source Sans Pro Semibold" panose="020B0503030403020204" pitchFamily="34" charset="0"/>
              <a:ea typeface="Source Sans Pro Semibold" panose="020B05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46" name="Picture 45" descr="A close up of a sign&#10;&#10;Description automatically generated">
            <a:extLst>
              <a:ext uri="{FF2B5EF4-FFF2-40B4-BE49-F238E27FC236}">
                <a16:creationId xmlns:a16="http://schemas.microsoft.com/office/drawing/2014/main" id="{0289F9E7-101A-3448-B42C-915F2E6F5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15" y="6363671"/>
            <a:ext cx="1285240" cy="352657"/>
          </a:xfrm>
          <a:prstGeom prst="rect">
            <a:avLst/>
          </a:prstGeom>
        </p:spPr>
      </p:pic>
      <p:pic>
        <p:nvPicPr>
          <p:cNvPr id="47" name="Picture 46" descr="Logo&#10;&#10;Description automatically generated">
            <a:extLst>
              <a:ext uri="{FF2B5EF4-FFF2-40B4-BE49-F238E27FC236}">
                <a16:creationId xmlns:a16="http://schemas.microsoft.com/office/drawing/2014/main" id="{2637C50F-37BB-1146-BCD7-EF92E7105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" y="6317252"/>
            <a:ext cx="1091015" cy="44549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7804CC71-5DCD-474C-8A5C-DF578BCFA07F}"/>
              </a:ext>
            </a:extLst>
          </p:cNvPr>
          <p:cNvSpPr txBox="1"/>
          <p:nvPr/>
        </p:nvSpPr>
        <p:spPr>
          <a:xfrm>
            <a:off x="9690776" y="6319048"/>
            <a:ext cx="1403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#</a:t>
            </a:r>
            <a:r>
              <a:rPr lang="en-US" b="1" dirty="0" err="1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WasteExpo</a:t>
            </a:r>
            <a:endParaRPr lang="en-US" b="1" dirty="0">
              <a:solidFill>
                <a:schemeClr val="bg1"/>
              </a:solidFill>
              <a:latin typeface="Source Sans Pro Semibold" panose="020B0503030403020204" pitchFamily="34" charset="0"/>
              <a:ea typeface="Source Sans Pro Semibold" panose="020B0503030403020204" pitchFamily="34" charset="0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2C257B8-45FB-504C-8839-2139CE760F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5052" y="5857875"/>
            <a:ext cx="890587" cy="890587"/>
          </a:xfrm>
          <a:prstGeom prst="rect">
            <a:avLst/>
          </a:prstGeom>
        </p:spPr>
      </p:pic>
      <p:pic>
        <p:nvPicPr>
          <p:cNvPr id="66" name="Picture 65" descr="Logo&#10;&#10;Description automatically generated">
            <a:extLst>
              <a:ext uri="{FF2B5EF4-FFF2-40B4-BE49-F238E27FC236}">
                <a16:creationId xmlns:a16="http://schemas.microsoft.com/office/drawing/2014/main" id="{BD7B630F-A9F6-4B43-A14E-ED25E5AB54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7473" y="5963789"/>
            <a:ext cx="597953" cy="678757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E3B9971-F1D5-4509-B708-3DD4B3C96FC8}"/>
              </a:ext>
            </a:extLst>
          </p:cNvPr>
          <p:cNvSpPr txBox="1"/>
          <p:nvPr/>
        </p:nvSpPr>
        <p:spPr>
          <a:xfrm>
            <a:off x="658820" y="1862211"/>
            <a:ext cx="7724892" cy="35855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AutoNum type="arabicPlain" startAt="2015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pitchFamily="34" charset="0"/>
              </a:rPr>
              <a:t>  	</a:t>
            </a: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MRC/Fiberight sign development agreement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	Site lease and waste disposal agreements drafted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	Fiberight applies for solid waste air permits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AutoNum type="arabicPlain" startAt="2016"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    MRC signs up 102,513 tons per year of MSW </a:t>
            </a:r>
          </a:p>
          <a:p>
            <a:pPr lvl="1" eaLnBrk="0" fontAlgn="base" hangingPunct="0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	115 towns stay with MRC. 72 towns leave the MRC</a:t>
            </a:r>
          </a:p>
          <a:p>
            <a:pPr lvl="1" eaLnBrk="0" fontAlgn="base" hangingPunct="0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      Maine DEP issues permits</a:t>
            </a:r>
          </a:p>
          <a:p>
            <a:pPr lvl="1" eaLnBrk="0" fontAlgn="base" hangingPunct="0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	PERC appeals permits to District Court </a:t>
            </a:r>
          </a:p>
          <a:p>
            <a:pPr lvl="1" eaLnBrk="0" fontAlgn="base" hangingPunct="0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	Litigation begin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Arial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3FFD18-0055-4EBE-994B-9C8B5BC1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9" y="318501"/>
            <a:ext cx="6194044" cy="658208"/>
          </a:xfrm>
        </p:spPr>
        <p:txBody>
          <a:bodyPr>
            <a:noAutofit/>
          </a:bodyPr>
          <a:lstStyle/>
          <a:p>
            <a:r>
              <a:rPr lang="en-US" sz="2800" dirty="0"/>
              <a:t>The MRC and the Coastal Hampden Facilit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DDA3284-FBFE-4823-93E0-9F2D4F3D70FD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602" y="6199579"/>
            <a:ext cx="1403943" cy="5631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66631EA6-CBD9-4D77-9B67-27943E003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272" y="6058578"/>
            <a:ext cx="1877575" cy="68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 Box 16">
            <a:extLst>
              <a:ext uri="{FF2B5EF4-FFF2-40B4-BE49-F238E27FC236}">
                <a16:creationId xmlns:a16="http://schemas.microsoft.com/office/drawing/2014/main" id="{877B78F5-1624-4BB6-9302-87BDD9AAB3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9642" y="109538"/>
            <a:ext cx="311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100000"/>
              <a:buFont typeface="Symbol" pitchFamily="18" charset="2"/>
              <a:buChar char="·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65000"/>
              <a:buFont typeface="Monotype Sorts"/>
              <a:buChar char="l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674AFE03-12EF-4E92-A201-0451FAB8529C}" type="slidenum">
              <a:rPr lang="en-US" altLang="en-US" sz="1800"/>
              <a:pPr>
                <a:spcBef>
                  <a:spcPct val="0"/>
                </a:spcBef>
                <a:buSzTx/>
                <a:buFontTx/>
                <a:buNone/>
              </a:pPr>
              <a:t>6</a:t>
            </a:fld>
            <a:endParaRPr lang="en-US" altLang="en-US" sz="2400" dirty="0"/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D069E6EC-BE79-4261-8D10-6D04167B8D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5478" y="3245025"/>
            <a:ext cx="2079408" cy="2873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C0B380E-4559-454C-8D52-0267E2FDF89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5477" y="479390"/>
            <a:ext cx="2072684" cy="276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8465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146373-2842-4822-8B1F-AC3475550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146373-2842-4822-8B1F-AC3475550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0FF785E5-A270-4098-8825-22A9F96BA3E7}"/>
              </a:ext>
            </a:extLst>
          </p:cNvPr>
          <p:cNvGrpSpPr/>
          <p:nvPr/>
        </p:nvGrpSpPr>
        <p:grpSpPr>
          <a:xfrm>
            <a:off x="347778" y="3536079"/>
            <a:ext cx="5923478" cy="1778000"/>
            <a:chOff x="-393700" y="3581400"/>
            <a:chExt cx="7188200" cy="177800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050B0A-D937-47B6-8605-15D10ABBD765}"/>
                </a:ext>
              </a:extLst>
            </p:cNvPr>
            <p:cNvCxnSpPr/>
            <p:nvPr/>
          </p:nvCxnSpPr>
          <p:spPr>
            <a:xfrm flipH="1">
              <a:off x="-393700" y="3581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FFC7CE0-EE24-4A7E-94BF-F896D00615B8}"/>
                </a:ext>
              </a:extLst>
            </p:cNvPr>
            <p:cNvCxnSpPr/>
            <p:nvPr/>
          </p:nvCxnSpPr>
          <p:spPr>
            <a:xfrm flipH="1">
              <a:off x="-393700" y="4470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80A1D8-F78E-48FF-8106-F117B5116E12}"/>
                </a:ext>
              </a:extLst>
            </p:cNvPr>
            <p:cNvCxnSpPr/>
            <p:nvPr/>
          </p:nvCxnSpPr>
          <p:spPr>
            <a:xfrm flipH="1">
              <a:off x="-393700" y="5359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D34E8B0-2954-4BDA-83A6-3AAA94B05AEA}"/>
              </a:ext>
            </a:extLst>
          </p:cNvPr>
          <p:cNvSpPr/>
          <p:nvPr/>
        </p:nvSpPr>
        <p:spPr>
          <a:xfrm>
            <a:off x="758867" y="1112666"/>
            <a:ext cx="633798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3200" b="1" dirty="0">
                <a:solidFill>
                  <a:srgbClr val="3F3F3F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Development process – next stage</a:t>
            </a:r>
            <a:endParaRPr lang="en-US" sz="3200" b="1" dirty="0">
              <a:solidFill>
                <a:srgbClr val="3F3F3F"/>
              </a:solidFill>
              <a:effectLst/>
              <a:latin typeface="Source Sans Pro Semibold" panose="020B0503030403020204" pitchFamily="34" charset="0"/>
              <a:ea typeface="Source Sans Pro Semibold" panose="020B05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46" name="Picture 45" descr="A close up of a sign&#10;&#10;Description automatically generated">
            <a:extLst>
              <a:ext uri="{FF2B5EF4-FFF2-40B4-BE49-F238E27FC236}">
                <a16:creationId xmlns:a16="http://schemas.microsoft.com/office/drawing/2014/main" id="{0289F9E7-101A-3448-B42C-915F2E6F5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15" y="6363671"/>
            <a:ext cx="1285240" cy="352657"/>
          </a:xfrm>
          <a:prstGeom prst="rect">
            <a:avLst/>
          </a:prstGeom>
        </p:spPr>
      </p:pic>
      <p:pic>
        <p:nvPicPr>
          <p:cNvPr id="47" name="Picture 46" descr="Logo&#10;&#10;Description automatically generated">
            <a:extLst>
              <a:ext uri="{FF2B5EF4-FFF2-40B4-BE49-F238E27FC236}">
                <a16:creationId xmlns:a16="http://schemas.microsoft.com/office/drawing/2014/main" id="{2637C50F-37BB-1146-BCD7-EF92E7105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" y="6317252"/>
            <a:ext cx="1091015" cy="44549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7804CC71-5DCD-474C-8A5C-DF578BCFA07F}"/>
              </a:ext>
            </a:extLst>
          </p:cNvPr>
          <p:cNvSpPr txBox="1"/>
          <p:nvPr/>
        </p:nvSpPr>
        <p:spPr>
          <a:xfrm>
            <a:off x="9690776" y="6319048"/>
            <a:ext cx="1403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#</a:t>
            </a:r>
            <a:r>
              <a:rPr lang="en-US" b="1" dirty="0" err="1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WasteExpo</a:t>
            </a:r>
            <a:endParaRPr lang="en-US" b="1" dirty="0">
              <a:solidFill>
                <a:schemeClr val="bg1"/>
              </a:solidFill>
              <a:latin typeface="Source Sans Pro Semibold" panose="020B0503030403020204" pitchFamily="34" charset="0"/>
              <a:ea typeface="Source Sans Pro Semibold" panose="020B0503030403020204" pitchFamily="34" charset="0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2C257B8-45FB-504C-8839-2139CE760F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5052" y="5857875"/>
            <a:ext cx="890587" cy="890587"/>
          </a:xfrm>
          <a:prstGeom prst="rect">
            <a:avLst/>
          </a:prstGeom>
        </p:spPr>
      </p:pic>
      <p:pic>
        <p:nvPicPr>
          <p:cNvPr id="66" name="Picture 65" descr="Logo&#10;&#10;Description automatically generated">
            <a:extLst>
              <a:ext uri="{FF2B5EF4-FFF2-40B4-BE49-F238E27FC236}">
                <a16:creationId xmlns:a16="http://schemas.microsoft.com/office/drawing/2014/main" id="{BD7B630F-A9F6-4B43-A14E-ED25E5AB54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7473" y="5963789"/>
            <a:ext cx="597953" cy="678757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E3B9971-F1D5-4509-B708-3DD4B3C96FC8}"/>
              </a:ext>
            </a:extLst>
          </p:cNvPr>
          <p:cNvSpPr txBox="1"/>
          <p:nvPr/>
        </p:nvSpPr>
        <p:spPr>
          <a:xfrm>
            <a:off x="658819" y="2166130"/>
            <a:ext cx="5923478" cy="35086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2017    PERC loses permit appeal.                    	MRC/PERC settle litigation.</a:t>
            </a:r>
          </a:p>
          <a:p>
            <a:pPr lvl="1" eaLnBrk="0" fontAlgn="base" hangingPunct="0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	Fiberight closes financing.  </a:t>
            </a:r>
          </a:p>
          <a:p>
            <a:pPr lvl="1" eaLnBrk="0" fontAlgn="base" hangingPunct="0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      Building construction begins. 	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AutoNum type="arabicPlain" startAt="2018"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    PERC contract ends. 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            Facility is not ready.  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            MSW is bypassed to landfills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Arial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Arial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3FFD18-0055-4EBE-994B-9C8B5BC1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9" y="318501"/>
            <a:ext cx="6194044" cy="658208"/>
          </a:xfrm>
        </p:spPr>
        <p:txBody>
          <a:bodyPr>
            <a:noAutofit/>
          </a:bodyPr>
          <a:lstStyle/>
          <a:p>
            <a:r>
              <a:rPr lang="en-US" sz="2800" dirty="0"/>
              <a:t>The MRC and the Coastal Hampden Facilit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DDA3284-FBFE-4823-93E0-9F2D4F3D70FD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602" y="6199579"/>
            <a:ext cx="1403943" cy="5631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66631EA6-CBD9-4D77-9B67-27943E003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272" y="6058578"/>
            <a:ext cx="1877575" cy="68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 Box 16">
            <a:extLst>
              <a:ext uri="{FF2B5EF4-FFF2-40B4-BE49-F238E27FC236}">
                <a16:creationId xmlns:a16="http://schemas.microsoft.com/office/drawing/2014/main" id="{877B78F5-1624-4BB6-9302-87BDD9AAB3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9642" y="109538"/>
            <a:ext cx="311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100000"/>
              <a:buFont typeface="Symbol" pitchFamily="18" charset="2"/>
              <a:buChar char="·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65000"/>
              <a:buFont typeface="Monotype Sorts"/>
              <a:buChar char="l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674AFE03-12EF-4E92-A201-0451FAB8529C}" type="slidenum">
              <a:rPr lang="en-US" altLang="en-US" sz="1800"/>
              <a:pPr>
                <a:spcBef>
                  <a:spcPct val="0"/>
                </a:spcBef>
                <a:buSzTx/>
                <a:buFontTx/>
                <a:buNone/>
              </a:pPr>
              <a:t>7</a:t>
            </a:fld>
            <a:endParaRPr lang="en-US" altLang="en-US" sz="2400" dirty="0"/>
          </a:p>
        </p:txBody>
      </p:sp>
      <p:pic>
        <p:nvPicPr>
          <p:cNvPr id="19" name="Content Placeholder 6">
            <a:extLst>
              <a:ext uri="{FF2B5EF4-FFF2-40B4-BE49-F238E27FC236}">
                <a16:creationId xmlns:a16="http://schemas.microsoft.com/office/drawing/2014/main" id="{CE45A3C9-1247-4BED-89E2-50C4D0913F1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0189" y="2175636"/>
            <a:ext cx="4967284" cy="3312414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1428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146373-2842-4822-8B1F-AC3475550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146373-2842-4822-8B1F-AC3475550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0FF785E5-A270-4098-8825-22A9F96BA3E7}"/>
              </a:ext>
            </a:extLst>
          </p:cNvPr>
          <p:cNvGrpSpPr/>
          <p:nvPr/>
        </p:nvGrpSpPr>
        <p:grpSpPr>
          <a:xfrm>
            <a:off x="347778" y="3536079"/>
            <a:ext cx="5923478" cy="1778000"/>
            <a:chOff x="-393700" y="3581400"/>
            <a:chExt cx="7188200" cy="177800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050B0A-D937-47B6-8605-15D10ABBD765}"/>
                </a:ext>
              </a:extLst>
            </p:cNvPr>
            <p:cNvCxnSpPr/>
            <p:nvPr/>
          </p:nvCxnSpPr>
          <p:spPr>
            <a:xfrm flipH="1">
              <a:off x="-393700" y="3581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FFC7CE0-EE24-4A7E-94BF-F896D00615B8}"/>
                </a:ext>
              </a:extLst>
            </p:cNvPr>
            <p:cNvCxnSpPr/>
            <p:nvPr/>
          </p:nvCxnSpPr>
          <p:spPr>
            <a:xfrm flipH="1">
              <a:off x="-393700" y="4470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80A1D8-F78E-48FF-8106-F117B5116E12}"/>
                </a:ext>
              </a:extLst>
            </p:cNvPr>
            <p:cNvCxnSpPr/>
            <p:nvPr/>
          </p:nvCxnSpPr>
          <p:spPr>
            <a:xfrm flipH="1">
              <a:off x="-393700" y="5359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D34E8B0-2954-4BDA-83A6-3AAA94B05AEA}"/>
              </a:ext>
            </a:extLst>
          </p:cNvPr>
          <p:cNvSpPr/>
          <p:nvPr/>
        </p:nvSpPr>
        <p:spPr>
          <a:xfrm>
            <a:off x="758867" y="1112666"/>
            <a:ext cx="533713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3200" b="1" dirty="0">
                <a:solidFill>
                  <a:srgbClr val="3F3F3F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  <a:cs typeface="Segoe UI" panose="020B0502040204020203" pitchFamily="34" charset="0"/>
              </a:rPr>
              <a:t>Start-up and testing</a:t>
            </a:r>
            <a:endParaRPr lang="en-US" sz="3200" b="1" dirty="0">
              <a:solidFill>
                <a:srgbClr val="3F3F3F"/>
              </a:solidFill>
              <a:effectLst/>
              <a:latin typeface="Source Sans Pro Semibold" panose="020B0503030403020204" pitchFamily="34" charset="0"/>
              <a:ea typeface="Source Sans Pro Semibold" panose="020B05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46" name="Picture 45" descr="A close up of a sign&#10;&#10;Description automatically generated">
            <a:extLst>
              <a:ext uri="{FF2B5EF4-FFF2-40B4-BE49-F238E27FC236}">
                <a16:creationId xmlns:a16="http://schemas.microsoft.com/office/drawing/2014/main" id="{0289F9E7-101A-3448-B42C-915F2E6F5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15" y="6363671"/>
            <a:ext cx="1285240" cy="352657"/>
          </a:xfrm>
          <a:prstGeom prst="rect">
            <a:avLst/>
          </a:prstGeom>
        </p:spPr>
      </p:pic>
      <p:pic>
        <p:nvPicPr>
          <p:cNvPr id="47" name="Picture 46" descr="Logo&#10;&#10;Description automatically generated">
            <a:extLst>
              <a:ext uri="{FF2B5EF4-FFF2-40B4-BE49-F238E27FC236}">
                <a16:creationId xmlns:a16="http://schemas.microsoft.com/office/drawing/2014/main" id="{2637C50F-37BB-1146-BCD7-EF92E7105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" y="6317252"/>
            <a:ext cx="1091015" cy="44549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7804CC71-5DCD-474C-8A5C-DF578BCFA07F}"/>
              </a:ext>
            </a:extLst>
          </p:cNvPr>
          <p:cNvSpPr txBox="1"/>
          <p:nvPr/>
        </p:nvSpPr>
        <p:spPr>
          <a:xfrm>
            <a:off x="9690776" y="6319048"/>
            <a:ext cx="1403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#</a:t>
            </a:r>
            <a:r>
              <a:rPr lang="en-US" b="1" dirty="0" err="1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WasteExpo</a:t>
            </a:r>
            <a:endParaRPr lang="en-US" b="1" dirty="0">
              <a:solidFill>
                <a:schemeClr val="bg1"/>
              </a:solidFill>
              <a:latin typeface="Source Sans Pro Semibold" panose="020B0503030403020204" pitchFamily="34" charset="0"/>
              <a:ea typeface="Source Sans Pro Semibold" panose="020B0503030403020204" pitchFamily="34" charset="0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2C257B8-45FB-504C-8839-2139CE760F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5052" y="5857875"/>
            <a:ext cx="890587" cy="890587"/>
          </a:xfrm>
          <a:prstGeom prst="rect">
            <a:avLst/>
          </a:prstGeom>
        </p:spPr>
      </p:pic>
      <p:pic>
        <p:nvPicPr>
          <p:cNvPr id="66" name="Picture 65" descr="Logo&#10;&#10;Description automatically generated">
            <a:extLst>
              <a:ext uri="{FF2B5EF4-FFF2-40B4-BE49-F238E27FC236}">
                <a16:creationId xmlns:a16="http://schemas.microsoft.com/office/drawing/2014/main" id="{BD7B630F-A9F6-4B43-A14E-ED25E5AB54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7473" y="5963789"/>
            <a:ext cx="597953" cy="678757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E3B9971-F1D5-4509-B708-3DD4B3C96FC8}"/>
              </a:ext>
            </a:extLst>
          </p:cNvPr>
          <p:cNvSpPr txBox="1"/>
          <p:nvPr/>
        </p:nvSpPr>
        <p:spPr>
          <a:xfrm>
            <a:off x="658819" y="1794847"/>
            <a:ext cx="6194044" cy="907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pitchFamily="34" charset="0"/>
              </a:rPr>
              <a:t>First MSW accepted April 2019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Performance testing October 22-28, 2019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Arial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3FFD18-0055-4EBE-994B-9C8B5BC1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9" y="318501"/>
            <a:ext cx="6194044" cy="658208"/>
          </a:xfrm>
        </p:spPr>
        <p:txBody>
          <a:bodyPr>
            <a:noAutofit/>
          </a:bodyPr>
          <a:lstStyle/>
          <a:p>
            <a:r>
              <a:rPr lang="en-US" sz="2800" dirty="0"/>
              <a:t>The MRC and the Coastal Hampden Facilit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DDA3284-FBFE-4823-93E0-9F2D4F3D70FD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602" y="6199579"/>
            <a:ext cx="1403943" cy="5631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66631EA6-CBD9-4D77-9B67-27943E003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272" y="6058578"/>
            <a:ext cx="1877575" cy="68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 Box 16">
            <a:extLst>
              <a:ext uri="{FF2B5EF4-FFF2-40B4-BE49-F238E27FC236}">
                <a16:creationId xmlns:a16="http://schemas.microsoft.com/office/drawing/2014/main" id="{877B78F5-1624-4BB6-9302-87BDD9AAB3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9642" y="109538"/>
            <a:ext cx="311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100000"/>
              <a:buFont typeface="Symbol" pitchFamily="18" charset="2"/>
              <a:buChar char="·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65000"/>
              <a:buFont typeface="Monotype Sorts"/>
              <a:buChar char="l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674AFE03-12EF-4E92-A201-0451FAB8529C}" type="slidenum">
              <a:rPr lang="en-US" altLang="en-US" sz="1800"/>
              <a:pPr>
                <a:spcBef>
                  <a:spcPct val="0"/>
                </a:spcBef>
                <a:buSzTx/>
                <a:buFontTx/>
                <a:buNone/>
              </a:pPr>
              <a:t>8</a:t>
            </a:fld>
            <a:endParaRPr lang="en-US" altLang="en-US" sz="2400" dirty="0"/>
          </a:p>
        </p:txBody>
      </p:sp>
      <p:graphicFrame>
        <p:nvGraphicFramePr>
          <p:cNvPr id="19" name="Table 7">
            <a:extLst>
              <a:ext uri="{FF2B5EF4-FFF2-40B4-BE49-F238E27FC236}">
                <a16:creationId xmlns:a16="http://schemas.microsoft.com/office/drawing/2014/main" id="{81E11287-B425-4510-BA36-E344347A79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5997863"/>
              </p:ext>
            </p:extLst>
          </p:nvPr>
        </p:nvGraphicFramePr>
        <p:xfrm>
          <a:off x="649818" y="2858873"/>
          <a:ext cx="6286510" cy="27569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4655">
                  <a:extLst>
                    <a:ext uri="{9D8B030D-6E8A-4147-A177-3AD203B41FA5}">
                      <a16:colId xmlns:a16="http://schemas.microsoft.com/office/drawing/2014/main" val="168344911"/>
                    </a:ext>
                  </a:extLst>
                </a:gridCol>
                <a:gridCol w="1994415">
                  <a:extLst>
                    <a:ext uri="{9D8B030D-6E8A-4147-A177-3AD203B41FA5}">
                      <a16:colId xmlns:a16="http://schemas.microsoft.com/office/drawing/2014/main" val="106360894"/>
                    </a:ext>
                  </a:extLst>
                </a:gridCol>
                <a:gridCol w="2197440">
                  <a:extLst>
                    <a:ext uri="{9D8B030D-6E8A-4147-A177-3AD203B41FA5}">
                      <a16:colId xmlns:a16="http://schemas.microsoft.com/office/drawing/2014/main" val="2495285377"/>
                    </a:ext>
                  </a:extLst>
                </a:gridCol>
              </a:tblGrid>
              <a:tr h="531915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Actu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Standar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745538"/>
                  </a:ext>
                </a:extLst>
              </a:tr>
              <a:tr h="425100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MSW processed in 3 day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1279 t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1200 t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7507536"/>
                  </a:ext>
                </a:extLst>
              </a:tr>
              <a:tr h="765180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MSW processed in 3 hour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159 tons</a:t>
                      </a:r>
                    </a:p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53 tons/</a:t>
                      </a:r>
                      <a:r>
                        <a:rPr lang="en-US" sz="2400" dirty="0" err="1">
                          <a:solidFill>
                            <a:schemeClr val="tx1"/>
                          </a:solidFill>
                        </a:rPr>
                        <a:t>hr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135 tons</a:t>
                      </a:r>
                    </a:p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45 tons/</a:t>
                      </a:r>
                      <a:r>
                        <a:rPr lang="en-US" sz="2400" dirty="0" err="1">
                          <a:solidFill>
                            <a:schemeClr val="tx1"/>
                          </a:solidFill>
                        </a:rPr>
                        <a:t>hr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1924657"/>
                  </a:ext>
                </a:extLst>
              </a:tr>
              <a:tr h="425100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Diversion per mass balanc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54.1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50.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4680230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8FA0299F-B0BE-4B74-A29F-996AFCB8FB50}"/>
              </a:ext>
            </a:extLst>
          </p:cNvPr>
          <p:cNvSpPr txBox="1"/>
          <p:nvPr/>
        </p:nvSpPr>
        <p:spPr>
          <a:xfrm>
            <a:off x="7238368" y="2828835"/>
            <a:ext cx="4303814" cy="2677656"/>
          </a:xfrm>
          <a:prstGeom prst="rect">
            <a:avLst/>
          </a:prstGeom>
          <a:noFill/>
          <a:ln w="31750"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400" dirty="0">
                <a:latin typeface="Times New Roman" panose="02020603050405020304" pitchFamily="18" charset="0"/>
              </a:rPr>
              <a:t>Sold all recovered materials</a:t>
            </a:r>
          </a:p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400" dirty="0">
                <a:latin typeface="Times New Roman" panose="02020603050405020304" pitchFamily="18" charset="0"/>
              </a:rPr>
              <a:t>Produced quality pulp and briquettes</a:t>
            </a:r>
          </a:p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400" dirty="0">
                <a:latin typeface="Times New Roman" panose="02020603050405020304" pitchFamily="18" charset="0"/>
              </a:rPr>
              <a:t>Produced more bio-gas than anticipated</a:t>
            </a:r>
          </a:p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2400" dirty="0">
                <a:latin typeface="Times New Roman" panose="02020603050405020304" pitchFamily="18" charset="0"/>
              </a:rPr>
              <a:t>Produced ADC approved for landfill use</a:t>
            </a:r>
          </a:p>
        </p:txBody>
      </p:sp>
      <p:pic>
        <p:nvPicPr>
          <p:cNvPr id="3" name="Picture 2" descr="A large group of people in a warehouse&#10;&#10;Description automatically generated with low confidence">
            <a:extLst>
              <a:ext uri="{FF2B5EF4-FFF2-40B4-BE49-F238E27FC236}">
                <a16:creationId xmlns:a16="http://schemas.microsoft.com/office/drawing/2014/main" id="{C856CFA7-AA88-4875-B8F7-AA6CA3337F1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7791" y="292894"/>
            <a:ext cx="3004967" cy="2207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443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146373-2842-4822-8B1F-AC3475550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146373-2842-4822-8B1F-AC3475550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0FF785E5-A270-4098-8825-22A9F96BA3E7}"/>
              </a:ext>
            </a:extLst>
          </p:cNvPr>
          <p:cNvGrpSpPr/>
          <p:nvPr/>
        </p:nvGrpSpPr>
        <p:grpSpPr>
          <a:xfrm>
            <a:off x="347778" y="3536079"/>
            <a:ext cx="5923478" cy="1778000"/>
            <a:chOff x="-393700" y="3581400"/>
            <a:chExt cx="7188200" cy="177800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050B0A-D937-47B6-8605-15D10ABBD765}"/>
                </a:ext>
              </a:extLst>
            </p:cNvPr>
            <p:cNvCxnSpPr/>
            <p:nvPr/>
          </p:nvCxnSpPr>
          <p:spPr>
            <a:xfrm flipH="1">
              <a:off x="-393700" y="3581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FFC7CE0-EE24-4A7E-94BF-F896D00615B8}"/>
                </a:ext>
              </a:extLst>
            </p:cNvPr>
            <p:cNvCxnSpPr/>
            <p:nvPr/>
          </p:nvCxnSpPr>
          <p:spPr>
            <a:xfrm flipH="1">
              <a:off x="-393700" y="4470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80A1D8-F78E-48FF-8106-F117B5116E12}"/>
                </a:ext>
              </a:extLst>
            </p:cNvPr>
            <p:cNvCxnSpPr/>
            <p:nvPr/>
          </p:nvCxnSpPr>
          <p:spPr>
            <a:xfrm flipH="1">
              <a:off x="-393700" y="5359400"/>
              <a:ext cx="7188200" cy="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6" name="Picture 45" descr="A close up of a sign&#10;&#10;Description automatically generated">
            <a:extLst>
              <a:ext uri="{FF2B5EF4-FFF2-40B4-BE49-F238E27FC236}">
                <a16:creationId xmlns:a16="http://schemas.microsoft.com/office/drawing/2014/main" id="{0289F9E7-101A-3448-B42C-915F2E6F5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615" y="6363671"/>
            <a:ext cx="1285240" cy="352657"/>
          </a:xfrm>
          <a:prstGeom prst="rect">
            <a:avLst/>
          </a:prstGeom>
        </p:spPr>
      </p:pic>
      <p:pic>
        <p:nvPicPr>
          <p:cNvPr id="47" name="Picture 46" descr="Logo&#10;&#10;Description automatically generated">
            <a:extLst>
              <a:ext uri="{FF2B5EF4-FFF2-40B4-BE49-F238E27FC236}">
                <a16:creationId xmlns:a16="http://schemas.microsoft.com/office/drawing/2014/main" id="{2637C50F-37BB-1146-BCD7-EF92E7105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" y="6317252"/>
            <a:ext cx="1091015" cy="44549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7804CC71-5DCD-474C-8A5C-DF578BCFA07F}"/>
              </a:ext>
            </a:extLst>
          </p:cNvPr>
          <p:cNvSpPr txBox="1"/>
          <p:nvPr/>
        </p:nvSpPr>
        <p:spPr>
          <a:xfrm>
            <a:off x="9690776" y="6319048"/>
            <a:ext cx="1403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#</a:t>
            </a:r>
            <a:r>
              <a:rPr lang="en-US" b="1" dirty="0" err="1">
                <a:solidFill>
                  <a:schemeClr val="bg1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</a:rPr>
              <a:t>WasteExpo</a:t>
            </a:r>
            <a:endParaRPr lang="en-US" b="1" dirty="0">
              <a:solidFill>
                <a:schemeClr val="bg1"/>
              </a:solidFill>
              <a:latin typeface="Source Sans Pro Semibold" panose="020B0503030403020204" pitchFamily="34" charset="0"/>
              <a:ea typeface="Source Sans Pro Semibold" panose="020B0503030403020204" pitchFamily="34" charset="0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2C257B8-45FB-504C-8839-2139CE760F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5052" y="5857875"/>
            <a:ext cx="890587" cy="890587"/>
          </a:xfrm>
          <a:prstGeom prst="rect">
            <a:avLst/>
          </a:prstGeom>
        </p:spPr>
      </p:pic>
      <p:pic>
        <p:nvPicPr>
          <p:cNvPr id="66" name="Picture 65" descr="Logo&#10;&#10;Description automatically generated">
            <a:extLst>
              <a:ext uri="{FF2B5EF4-FFF2-40B4-BE49-F238E27FC236}">
                <a16:creationId xmlns:a16="http://schemas.microsoft.com/office/drawing/2014/main" id="{BD7B630F-A9F6-4B43-A14E-ED25E5AB54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7473" y="5963789"/>
            <a:ext cx="597953" cy="67875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23FFD18-0055-4EBE-994B-9C8B5BC1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9" y="318501"/>
            <a:ext cx="6194044" cy="658208"/>
          </a:xfrm>
        </p:spPr>
        <p:txBody>
          <a:bodyPr>
            <a:noAutofit/>
          </a:bodyPr>
          <a:lstStyle/>
          <a:p>
            <a:r>
              <a:rPr lang="en-US" sz="2800" dirty="0"/>
              <a:t>The MRC and the Coastal Hampden Facilit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DDA3284-FBFE-4823-93E0-9F2D4F3D70FD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602" y="6199579"/>
            <a:ext cx="1403943" cy="5631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66631EA6-CBD9-4D77-9B67-27943E003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272" y="6058578"/>
            <a:ext cx="1877575" cy="68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 Box 16">
            <a:extLst>
              <a:ext uri="{FF2B5EF4-FFF2-40B4-BE49-F238E27FC236}">
                <a16:creationId xmlns:a16="http://schemas.microsoft.com/office/drawing/2014/main" id="{877B78F5-1624-4BB6-9302-87BDD9AAB3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9642" y="109538"/>
            <a:ext cx="311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100000"/>
              <a:buFont typeface="Symbol" pitchFamily="18" charset="2"/>
              <a:buChar char="·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65000"/>
              <a:buFont typeface="Monotype Sorts"/>
              <a:buChar char="l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674AFE03-12EF-4E92-A201-0451FAB8529C}" type="slidenum">
              <a:rPr lang="en-US" altLang="en-US" sz="1800"/>
              <a:pPr>
                <a:spcBef>
                  <a:spcPct val="0"/>
                </a:spcBef>
                <a:buSzTx/>
                <a:buFontTx/>
                <a:buNone/>
              </a:pPr>
              <a:t>9</a:t>
            </a:fld>
            <a:endParaRPr lang="en-US" altLang="en-US" sz="2400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80682D1D-BDBA-4DF5-A781-FD4B883B3258}"/>
              </a:ext>
            </a:extLst>
          </p:cNvPr>
          <p:cNvSpPr txBox="1">
            <a:spLocks noGrp="1"/>
          </p:cNvSpPr>
          <p:nvPr>
            <p:ph idx="1"/>
          </p:nvPr>
        </p:nvSpPr>
        <p:spPr bwMode="auto">
          <a:xfrm>
            <a:off x="838200" y="976710"/>
            <a:ext cx="9990762" cy="4987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Symbol" pitchFamily="18" charset="2"/>
              <a:buNone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None/>
              <a:defRPr sz="2800">
                <a:solidFill>
                  <a:schemeClr val="tx1"/>
                </a:solidFill>
                <a:latin typeface="+mn-lt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None/>
              <a:defRPr sz="2400">
                <a:solidFill>
                  <a:schemeClr val="tx1"/>
                </a:solidFill>
                <a:latin typeface="+mn-lt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Monotype Sorts"/>
              <a:buNone/>
              <a:defRPr sz="2000">
                <a:solidFill>
                  <a:schemeClr val="tx1"/>
                </a:solidFill>
                <a:latin typeface="+mn-lt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None/>
              <a:defRPr sz="2000">
                <a:solidFill>
                  <a:schemeClr val="tx1"/>
                </a:solidFill>
                <a:latin typeface="+mn-lt"/>
              </a:defRPr>
            </a:lvl5pPr>
            <a:lvl6pPr marL="22860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27432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32004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36576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None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altLang="en-US" sz="2400" b="1" kern="0" dirty="0">
                <a:latin typeface="Times New Roman" pitchFamily="18" charset="0"/>
                <a:cs typeface="Times New Roman" pitchFamily="18" charset="0"/>
              </a:rPr>
              <a:t>Materials/products: HDPE, OCC, pulp, gas, briquettes, flags</a:t>
            </a:r>
          </a:p>
          <a:p>
            <a:pPr algn="l">
              <a:spcBef>
                <a:spcPts val="0"/>
              </a:spcBef>
            </a:pPr>
            <a:endParaRPr lang="en-US" altLang="en-US" sz="2800" dirty="0">
              <a:latin typeface="Times New Roman" pitchFamily="18" charset="0"/>
              <a:cs typeface="Times New Roman" pitchFamily="18" charset="0"/>
            </a:endParaRPr>
          </a:p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altLang="en-US" sz="2800" kern="0" dirty="0">
              <a:latin typeface="Times New Roman" pitchFamily="18" charset="0"/>
              <a:cs typeface="Times New Roman" pitchFamily="18" charset="0"/>
            </a:endParaRPr>
          </a:p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altLang="en-US" sz="2800" kern="0" dirty="0">
              <a:latin typeface="Times New Roman" pitchFamily="18" charset="0"/>
              <a:cs typeface="Times New Roman" pitchFamily="18" charset="0"/>
            </a:endParaRPr>
          </a:p>
          <a:p>
            <a:pPr marL="457200" indent="-457200" algn="l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altLang="en-US" sz="2800" kern="0" dirty="0">
              <a:latin typeface="Times New Roman" pitchFamily="18" charset="0"/>
              <a:cs typeface="Times New Roman" pitchFamily="18" charset="0"/>
            </a:endParaRPr>
          </a:p>
          <a:p>
            <a:pPr algn="l">
              <a:spcBef>
                <a:spcPts val="0"/>
              </a:spcBef>
            </a:pPr>
            <a:endParaRPr lang="en-US" altLang="en-US" sz="2800" kern="0" dirty="0"/>
          </a:p>
          <a:p>
            <a:pPr algn="l">
              <a:spcBef>
                <a:spcPts val="0"/>
              </a:spcBef>
            </a:pPr>
            <a:endParaRPr lang="en-US" altLang="en-US" sz="2800" dirty="0"/>
          </a:p>
          <a:p>
            <a:pPr algn="l">
              <a:spcBef>
                <a:spcPts val="0"/>
              </a:spcBef>
            </a:pPr>
            <a:endParaRPr lang="en-US" altLang="en-US" sz="2800" kern="0" dirty="0"/>
          </a:p>
        </p:txBody>
      </p:sp>
      <p:pic>
        <p:nvPicPr>
          <p:cNvPr id="29" name="Picture 28" descr="A picture containing indoor, food, table, green&#10;&#10;Description automatically generated">
            <a:extLst>
              <a:ext uri="{FF2B5EF4-FFF2-40B4-BE49-F238E27FC236}">
                <a16:creationId xmlns:a16="http://schemas.microsoft.com/office/drawing/2014/main" id="{7C505239-5C24-4764-B396-C87EA2FE9FA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087" y="1537882"/>
            <a:ext cx="2639395" cy="2500279"/>
          </a:xfrm>
          <a:prstGeom prst="rect">
            <a:avLst/>
          </a:prstGeom>
        </p:spPr>
      </p:pic>
      <p:pic>
        <p:nvPicPr>
          <p:cNvPr id="30" name="Picture 29" descr="A pile of rocks&#10;&#10;Description automatically generated">
            <a:extLst>
              <a:ext uri="{FF2B5EF4-FFF2-40B4-BE49-F238E27FC236}">
                <a16:creationId xmlns:a16="http://schemas.microsoft.com/office/drawing/2014/main" id="{5E70CC50-F8A6-41B8-BAD6-E8EA052EC8A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3573" y="1506291"/>
            <a:ext cx="4675188" cy="2448296"/>
          </a:xfrm>
          <a:prstGeom prst="rect">
            <a:avLst/>
          </a:prstGeom>
        </p:spPr>
      </p:pic>
      <p:pic>
        <p:nvPicPr>
          <p:cNvPr id="33" name="Picture 32" descr="A picture containing green, truck, riding, train&#10;&#10;Description automatically generated">
            <a:extLst>
              <a:ext uri="{FF2B5EF4-FFF2-40B4-BE49-F238E27FC236}">
                <a16:creationId xmlns:a16="http://schemas.microsoft.com/office/drawing/2014/main" id="{CEDEB6B9-3603-44C1-B643-AB44CD5A067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4226556"/>
            <a:ext cx="2789282" cy="1784628"/>
          </a:xfrm>
          <a:prstGeom prst="rect">
            <a:avLst/>
          </a:prstGeom>
        </p:spPr>
      </p:pic>
      <p:pic>
        <p:nvPicPr>
          <p:cNvPr id="34" name="Picture 33" descr="A pile of dirt&#10;&#10;Description automatically generated">
            <a:extLst>
              <a:ext uri="{FF2B5EF4-FFF2-40B4-BE49-F238E27FC236}">
                <a16:creationId xmlns:a16="http://schemas.microsoft.com/office/drawing/2014/main" id="{D5FF9B82-82FD-49B2-B7E5-119968662B2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3114" y="4132982"/>
            <a:ext cx="2334146" cy="1960889"/>
          </a:xfrm>
          <a:prstGeom prst="rect">
            <a:avLst/>
          </a:prstGeom>
        </p:spPr>
      </p:pic>
      <p:pic>
        <p:nvPicPr>
          <p:cNvPr id="35" name="Picture 34" descr="A plane flying in the sky&#10;&#10;Description automatically generated">
            <a:extLst>
              <a:ext uri="{FF2B5EF4-FFF2-40B4-BE49-F238E27FC236}">
                <a16:creationId xmlns:a16="http://schemas.microsoft.com/office/drawing/2014/main" id="{2CDDFAB6-DB11-4C8C-9007-69820DEAB5EE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815912" y="1500548"/>
            <a:ext cx="2511241" cy="2396837"/>
          </a:xfrm>
          <a:prstGeom prst="rect">
            <a:avLst/>
          </a:prstGeom>
        </p:spPr>
      </p:pic>
      <p:pic>
        <p:nvPicPr>
          <p:cNvPr id="37" name="Picture 36" descr="Stored pulp">
            <a:extLst>
              <a:ext uri="{FF2B5EF4-FFF2-40B4-BE49-F238E27FC236}">
                <a16:creationId xmlns:a16="http://schemas.microsoft.com/office/drawing/2014/main" id="{56D2B2B4-B70B-49A5-AAC0-F4AD316DB7E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4045" y="4049375"/>
            <a:ext cx="4675187" cy="2044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8755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A837A"/>
      </a:accent1>
      <a:accent2>
        <a:srgbClr val="66BFCA"/>
      </a:accent2>
      <a:accent3>
        <a:srgbClr val="3882A3"/>
      </a:accent3>
      <a:accent4>
        <a:srgbClr val="87B855"/>
      </a:accent4>
      <a:accent5>
        <a:srgbClr val="565759"/>
      </a:accent5>
      <a:accent6>
        <a:srgbClr val="000000"/>
      </a:accent6>
      <a:hlink>
        <a:srgbClr val="FEFFFF"/>
      </a:hlink>
      <a:folHlink>
        <a:srgbClr val="00FC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4603D7BB8C7647942EF09A64B0C2C1" ma:contentTypeVersion="13" ma:contentTypeDescription="Create a new document." ma:contentTypeScope="" ma:versionID="b3869bf74ad748b8299468f0800d62e3">
  <xsd:schema xmlns:xsd="http://www.w3.org/2001/XMLSchema" xmlns:xs="http://www.w3.org/2001/XMLSchema" xmlns:p="http://schemas.microsoft.com/office/2006/metadata/properties" xmlns:ns3="40efce1a-194e-4657-a3f0-e2b0af1f31ab" xmlns:ns4="3727f35b-4527-428e-940b-b39ca1f4cafc" targetNamespace="http://schemas.microsoft.com/office/2006/metadata/properties" ma:root="true" ma:fieldsID="d4fc932ce1efeb5845d1708312a6e4fb" ns3:_="" ns4:_="">
    <xsd:import namespace="40efce1a-194e-4657-a3f0-e2b0af1f31ab"/>
    <xsd:import namespace="3727f35b-4527-428e-940b-b39ca1f4caf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EventHashCode" minOccurs="0"/>
                <xsd:element ref="ns3:MediaServiceGenerationTime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efce1a-194e-4657-a3f0-e2b0af1f31a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27f35b-4527-428e-940b-b39ca1f4cafc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3CB1445-BEBE-4D3E-9095-A22339BDF212}">
  <ds:schemaRefs>
    <ds:schemaRef ds:uri="http://schemas.microsoft.com/office/2006/documentManagement/types"/>
    <ds:schemaRef ds:uri="http://purl.org/dc/elements/1.1/"/>
    <ds:schemaRef ds:uri="40efce1a-194e-4657-a3f0-e2b0af1f31ab"/>
    <ds:schemaRef ds:uri="http://www.w3.org/XML/1998/namespace"/>
    <ds:schemaRef ds:uri="3727f35b-4527-428e-940b-b39ca1f4cafc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ADAA0877-2071-4D33-B3C4-B8382458CD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49F5739-5984-4ACA-ADE0-E65860182C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efce1a-194e-4657-a3f0-e2b0af1f31ab"/>
    <ds:schemaRef ds:uri="3727f35b-4527-428e-940b-b39ca1f4caf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33</TotalTime>
  <Words>1009</Words>
  <Application>Microsoft Office PowerPoint</Application>
  <PresentationFormat>Widescreen</PresentationFormat>
  <Paragraphs>198</Paragraphs>
  <Slides>16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7" baseType="lpstr">
      <vt:lpstr>Arial</vt:lpstr>
      <vt:lpstr>Calibri</vt:lpstr>
      <vt:lpstr>Calibri Light</vt:lpstr>
      <vt:lpstr>Rockwell</vt:lpstr>
      <vt:lpstr>Source Sans Pro</vt:lpstr>
      <vt:lpstr>Source Sans Pro Black</vt:lpstr>
      <vt:lpstr>Source Sans Pro Semibold</vt:lpstr>
      <vt:lpstr>Symbol</vt:lpstr>
      <vt:lpstr>Times New Roman</vt:lpstr>
      <vt:lpstr>Office Theme</vt:lpstr>
      <vt:lpstr>think-cell Slide</vt:lpstr>
      <vt:lpstr>PowerPoint Presentation</vt:lpstr>
      <vt:lpstr>The MRC and the Coastal Hampden Facility</vt:lpstr>
      <vt:lpstr>The MRC and the Coastal Hampden Facility</vt:lpstr>
      <vt:lpstr>The MRC and the Coastal Hampden Facility</vt:lpstr>
      <vt:lpstr>The MRC and the Coastal Hampden Facility</vt:lpstr>
      <vt:lpstr>The MRC and the Coastal Hampden Facility</vt:lpstr>
      <vt:lpstr>The MRC and the Coastal Hampden Facility</vt:lpstr>
      <vt:lpstr>The MRC and the Coastal Hampden Facility</vt:lpstr>
      <vt:lpstr>The MRC and the Coastal Hampden Facility</vt:lpstr>
      <vt:lpstr>The MRC and the Coastal Hampden Facility</vt:lpstr>
      <vt:lpstr>The MRC and the Coastal Hampden Facility</vt:lpstr>
      <vt:lpstr>The MRC and the Coastal Hampden Facility</vt:lpstr>
      <vt:lpstr>The MRC and the Coastal Hampden Facility</vt:lpstr>
      <vt:lpstr>The MRC and the Coastal Hampden Facility</vt:lpstr>
      <vt:lpstr>The MRC and the Coastal Hampden Facility</vt:lpstr>
      <vt:lpstr>The MRC and the Coastal Hampden Facilit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George Aronson</cp:lastModifiedBy>
  <cp:revision>72</cp:revision>
  <cp:lastPrinted>2021-05-05T18:11:51Z</cp:lastPrinted>
  <dcterms:created xsi:type="dcterms:W3CDTF">2020-11-06T02:07:41Z</dcterms:created>
  <dcterms:modified xsi:type="dcterms:W3CDTF">2021-05-05T18:1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81c070e-054b-4d1c-ba4c-fc70b099192e_Enabled">
    <vt:lpwstr>True</vt:lpwstr>
  </property>
  <property fmtid="{D5CDD505-2E9C-101B-9397-08002B2CF9AE}" pid="3" name="MSIP_Label_181c070e-054b-4d1c-ba4c-fc70b099192e_SiteId">
    <vt:lpwstr>2567d566-604c-408a-8a60-55d0dc9d9d6b</vt:lpwstr>
  </property>
  <property fmtid="{D5CDD505-2E9C-101B-9397-08002B2CF9AE}" pid="4" name="MSIP_Label_181c070e-054b-4d1c-ba4c-fc70b099192e_Owner">
    <vt:lpwstr>Florence.Torres@informa.com</vt:lpwstr>
  </property>
  <property fmtid="{D5CDD505-2E9C-101B-9397-08002B2CF9AE}" pid="5" name="MSIP_Label_181c070e-054b-4d1c-ba4c-fc70b099192e_SetDate">
    <vt:lpwstr>2021-01-26T21:16:11.2865424Z</vt:lpwstr>
  </property>
  <property fmtid="{D5CDD505-2E9C-101B-9397-08002B2CF9AE}" pid="6" name="MSIP_Label_181c070e-054b-4d1c-ba4c-fc70b099192e_Name">
    <vt:lpwstr>General</vt:lpwstr>
  </property>
  <property fmtid="{D5CDD505-2E9C-101B-9397-08002B2CF9AE}" pid="7" name="MSIP_Label_181c070e-054b-4d1c-ba4c-fc70b099192e_Application">
    <vt:lpwstr>Microsoft Azure Information Protection</vt:lpwstr>
  </property>
  <property fmtid="{D5CDD505-2E9C-101B-9397-08002B2CF9AE}" pid="8" name="MSIP_Label_181c070e-054b-4d1c-ba4c-fc70b099192e_ActionId">
    <vt:lpwstr>e80dd4ec-85ed-447a-b716-9d0fb6408348</vt:lpwstr>
  </property>
  <property fmtid="{D5CDD505-2E9C-101B-9397-08002B2CF9AE}" pid="9" name="MSIP_Label_181c070e-054b-4d1c-ba4c-fc70b099192e_Extended_MSFT_Method">
    <vt:lpwstr>Automatic</vt:lpwstr>
  </property>
  <property fmtid="{D5CDD505-2E9C-101B-9397-08002B2CF9AE}" pid="10" name="MSIP_Label_2bbab825-a111-45e4-86a1-18cee0005896_Enabled">
    <vt:lpwstr>True</vt:lpwstr>
  </property>
  <property fmtid="{D5CDD505-2E9C-101B-9397-08002B2CF9AE}" pid="11" name="MSIP_Label_2bbab825-a111-45e4-86a1-18cee0005896_SiteId">
    <vt:lpwstr>2567d566-604c-408a-8a60-55d0dc9d9d6b</vt:lpwstr>
  </property>
  <property fmtid="{D5CDD505-2E9C-101B-9397-08002B2CF9AE}" pid="12" name="MSIP_Label_2bbab825-a111-45e4-86a1-18cee0005896_Owner">
    <vt:lpwstr>Florence.Torres@informa.com</vt:lpwstr>
  </property>
  <property fmtid="{D5CDD505-2E9C-101B-9397-08002B2CF9AE}" pid="13" name="MSIP_Label_2bbab825-a111-45e4-86a1-18cee0005896_SetDate">
    <vt:lpwstr>2021-01-26T21:16:11.2865424Z</vt:lpwstr>
  </property>
  <property fmtid="{D5CDD505-2E9C-101B-9397-08002B2CF9AE}" pid="14" name="MSIP_Label_2bbab825-a111-45e4-86a1-18cee0005896_Name">
    <vt:lpwstr>Un-restricted</vt:lpwstr>
  </property>
  <property fmtid="{D5CDD505-2E9C-101B-9397-08002B2CF9AE}" pid="15" name="MSIP_Label_2bbab825-a111-45e4-86a1-18cee0005896_Application">
    <vt:lpwstr>Microsoft Azure Information Protection</vt:lpwstr>
  </property>
  <property fmtid="{D5CDD505-2E9C-101B-9397-08002B2CF9AE}" pid="16" name="MSIP_Label_2bbab825-a111-45e4-86a1-18cee0005896_ActionId">
    <vt:lpwstr>e80dd4ec-85ed-447a-b716-9d0fb6408348</vt:lpwstr>
  </property>
  <property fmtid="{D5CDD505-2E9C-101B-9397-08002B2CF9AE}" pid="17" name="MSIP_Label_2bbab825-a111-45e4-86a1-18cee0005896_Parent">
    <vt:lpwstr>181c070e-054b-4d1c-ba4c-fc70b099192e</vt:lpwstr>
  </property>
  <property fmtid="{D5CDD505-2E9C-101B-9397-08002B2CF9AE}" pid="18" name="MSIP_Label_2bbab825-a111-45e4-86a1-18cee0005896_Extended_MSFT_Method">
    <vt:lpwstr>Automatic</vt:lpwstr>
  </property>
  <property fmtid="{D5CDD505-2E9C-101B-9397-08002B2CF9AE}" pid="19" name="Sensitivity">
    <vt:lpwstr>General Un-restricted</vt:lpwstr>
  </property>
  <property fmtid="{D5CDD505-2E9C-101B-9397-08002B2CF9AE}" pid="20" name="ContentTypeId">
    <vt:lpwstr>0x010100664603D7BB8C7647942EF09A64B0C2C1</vt:lpwstr>
  </property>
</Properties>
</file>